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7.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3ED1E_91C19751.xml" ContentType="application/vnd.ms-powerpoint.comments+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4077" r:id="rId5"/>
    <p:sldMasterId id="2147484101" r:id="rId6"/>
    <p:sldMasterId id="2147484118" r:id="rId7"/>
    <p:sldMasterId id="2147484135" r:id="rId8"/>
    <p:sldMasterId id="2147484152" r:id="rId9"/>
    <p:sldMasterId id="2147484188" r:id="rId10"/>
    <p:sldMasterId id="2147484224" r:id="rId11"/>
    <p:sldMasterId id="2147484243" r:id="rId12"/>
  </p:sldMasterIdLst>
  <p:notesMasterIdLst>
    <p:notesMasterId r:id="rId17"/>
  </p:notesMasterIdLst>
  <p:sldIdLst>
    <p:sldId id="1263" r:id="rId13"/>
    <p:sldId id="257310" r:id="rId14"/>
    <p:sldId id="257307" r:id="rId15"/>
    <p:sldId id="257309" r:id="rId16"/>
  </p:sldIdLst>
  <p:sldSz cx="12192000" cy="6858000"/>
  <p:notesSz cx="6797675" cy="9928225"/>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19C626-1BAD-83B9-4E75-016E94FDD19D}" name="Corcoran. Emer (ESB Networks)" initials="CN" userId="S::emer.corcoran@esb.ie::be6c6ed3-1caa-45fc-aff4-32e0fc3d4911" providerId="AD"/>
  <p188:author id="{C86B363E-F6D4-A86A-D586-DACF71101A3B}" name="O'Hagan. Sinead (Contractor - Ernst &amp; Young)" initials="OS(E&amp;Y" userId="S::contractor.sinead.ohagan@esb.ie::37e0efa1-0107-4a6a-a201-5949a9329ddf" providerId="AD"/>
  <p188:author id="{57DDCA45-E6F0-6330-EF12-0488D3B97B9C}" name="Power. Damien (Contractor - EY)" initials="PE" userId="S::contractor.damien.power@esb.ie::a1f4b3c0-1096-4948-b5f9-75b086acdda0" providerId="AD"/>
  <p188:author id="{FA327547-364C-4CF2-1295-FEEAACEBE09D}" name="Power. Damien (Contractor - EY)" initials="" userId="contractor.damien.power@esb.ie" providerId="O365"/>
  <p188:author id="{13F09D6C-9680-23E3-2854-EE6AFFCC83C0}" name="Hassett. Rachel (Consultant - EY)" initials="HE" userId="S::consultant.rachel.hassett@esb.ie::b7d2e2b0-3019-4ec4-beb3-a42a62b65a2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exton. Elaine (Business Service Centre)" initials="SE(SC" lastIdx="1" clrIdx="0">
    <p:extLst>
      <p:ext uri="{19B8F6BF-5375-455C-9EA6-DF929625EA0E}">
        <p15:presenceInfo xmlns:p15="http://schemas.microsoft.com/office/powerpoint/2012/main" userId="S-1-5-21-866909991-2677109737-1885913163-44512" providerId="AD"/>
      </p:ext>
    </p:extLst>
  </p:cmAuthor>
  <p:cmAuthor id="2" name="Duffy. Orla (Enterprise Services)" initials="DS" lastIdx="19" clrIdx="1">
    <p:extLst>
      <p:ext uri="{19B8F6BF-5375-455C-9EA6-DF929625EA0E}">
        <p15:presenceInfo xmlns:p15="http://schemas.microsoft.com/office/powerpoint/2012/main" userId="S::contractor.orla.duffy@esb.ie::c1acae2b-554a-40f5-b519-be38fcd739f2" providerId="AD"/>
      </p:ext>
    </p:extLst>
  </p:cmAuthor>
  <p:cmAuthor id="3" name="Clancy. Laura (Enterprise Services)" initials="CL(S" lastIdx="2" clrIdx="2">
    <p:extLst>
      <p:ext uri="{19B8F6BF-5375-455C-9EA6-DF929625EA0E}">
        <p15:presenceInfo xmlns:p15="http://schemas.microsoft.com/office/powerpoint/2012/main" userId="S::laura.clancy3@esb.ie::067ba7e2-5d5b-42b0-b812-d2897b353e0a" providerId="AD"/>
      </p:ext>
    </p:extLst>
  </p:cmAuthor>
  <p:cmAuthor id="4" name="O'Hagan. Sinead (Contractor - Ernst &amp; Young)" initials="OS(E&amp;Y" lastIdx="11" clrIdx="3">
    <p:extLst>
      <p:ext uri="{19B8F6BF-5375-455C-9EA6-DF929625EA0E}">
        <p15:presenceInfo xmlns:p15="http://schemas.microsoft.com/office/powerpoint/2012/main" userId="S::contractor.sinead.ohagan@esb.ie::37e0efa1-0107-4a6a-a201-5949a9329ddf" providerId="AD"/>
      </p:ext>
    </p:extLst>
  </p:cmAuthor>
  <p:cmAuthor id="5" name="Corcoran. Emer (ESB Networks)" initials="CE(N" lastIdx="3" clrIdx="4">
    <p:extLst>
      <p:ext uri="{19B8F6BF-5375-455C-9EA6-DF929625EA0E}">
        <p15:presenceInfo xmlns:p15="http://schemas.microsoft.com/office/powerpoint/2012/main" userId="S::emer.corcoran@esb.ie::be6c6ed3-1caa-45fc-aff4-32e0fc3d49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0000FF"/>
    <a:srgbClr val="37A7ED"/>
    <a:srgbClr val="FFD347"/>
    <a:srgbClr val="33CCFF"/>
    <a:srgbClr val="E65CDF"/>
    <a:srgbClr val="C09200"/>
    <a:srgbClr val="FFC000"/>
    <a:srgbClr val="FF99FF"/>
    <a:srgbClr val="66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8" d="100"/>
          <a:sy n="138" d="100"/>
        </p:scale>
        <p:origin x="3240" y="11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3.xml"/><Relationship Id="rId23"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Hagan. Sinead (Contractor - Ernst &amp; Young)" userId="37e0efa1-0107-4a6a-a201-5949a9329ddf" providerId="ADAL" clId="{FB26107A-EE0D-4C17-B308-34B8F839D9C3}"/>
    <pc:docChg chg="modSld">
      <pc:chgData name="O'Hagan. Sinead (Contractor - Ernst &amp; Young)" userId="37e0efa1-0107-4a6a-a201-5949a9329ddf" providerId="ADAL" clId="{FB26107A-EE0D-4C17-B308-34B8F839D9C3}" dt="2023-02-15T11:11:10.751" v="12" actId="1037"/>
      <pc:docMkLst>
        <pc:docMk/>
      </pc:docMkLst>
      <pc:sldChg chg="modSp mod">
        <pc:chgData name="O'Hagan. Sinead (Contractor - Ernst &amp; Young)" userId="37e0efa1-0107-4a6a-a201-5949a9329ddf" providerId="ADAL" clId="{FB26107A-EE0D-4C17-B308-34B8F839D9C3}" dt="2023-02-15T09:09:09.714" v="0" actId="13926"/>
        <pc:sldMkLst>
          <pc:docMk/>
          <pc:sldMk cId="2678521947" sldId="257306"/>
        </pc:sldMkLst>
        <pc:spChg chg="mod">
          <ac:chgData name="O'Hagan. Sinead (Contractor - Ernst &amp; Young)" userId="37e0efa1-0107-4a6a-a201-5949a9329ddf" providerId="ADAL" clId="{FB26107A-EE0D-4C17-B308-34B8F839D9C3}" dt="2023-02-15T09:09:09.714" v="0" actId="13926"/>
          <ac:spMkLst>
            <pc:docMk/>
            <pc:sldMk cId="2678521947" sldId="257306"/>
            <ac:spMk id="4" creationId="{41825E9A-DF3E-44B2-A2BB-5D3F04B1C432}"/>
          </ac:spMkLst>
        </pc:spChg>
      </pc:sldChg>
      <pc:sldChg chg="modSp mod">
        <pc:chgData name="O'Hagan. Sinead (Contractor - Ernst &amp; Young)" userId="37e0efa1-0107-4a6a-a201-5949a9329ddf" providerId="ADAL" clId="{FB26107A-EE0D-4C17-B308-34B8F839D9C3}" dt="2023-02-15T11:11:10.751" v="12" actId="1037"/>
        <pc:sldMkLst>
          <pc:docMk/>
          <pc:sldMk cId="869737009" sldId="257308"/>
        </pc:sldMkLst>
        <pc:spChg chg="mod">
          <ac:chgData name="O'Hagan. Sinead (Contractor - Ernst &amp; Young)" userId="37e0efa1-0107-4a6a-a201-5949a9329ddf" providerId="ADAL" clId="{FB26107A-EE0D-4C17-B308-34B8F839D9C3}" dt="2023-02-15T11:11:10.751" v="12" actId="1037"/>
          <ac:spMkLst>
            <pc:docMk/>
            <pc:sldMk cId="869737009" sldId="257308"/>
            <ac:spMk id="24" creationId="{CAA07EDB-4515-D59A-B1AC-6A4081C6A612}"/>
          </ac:spMkLst>
        </pc:spChg>
      </pc:sldChg>
    </pc:docChg>
  </pc:docChgLst>
  <pc:docChgLst>
    <pc:chgData name="Power. Damien (Contractor - EY)" userId="a1f4b3c0-1096-4948-b5f9-75b086acdda0" providerId="ADAL" clId="{ACB75752-B454-4985-8E55-49CDF35B2A38}"/>
    <pc:docChg chg="custSel modSld">
      <pc:chgData name="Power. Damien (Contractor - EY)" userId="a1f4b3c0-1096-4948-b5f9-75b086acdda0" providerId="ADAL" clId="{ACB75752-B454-4985-8E55-49CDF35B2A38}" dt="2023-09-12T08:05:23.547" v="1" actId="478"/>
      <pc:docMkLst>
        <pc:docMk/>
      </pc:docMkLst>
      <pc:sldChg chg="delSp mod">
        <pc:chgData name="Power. Damien (Contractor - EY)" userId="a1f4b3c0-1096-4948-b5f9-75b086acdda0" providerId="ADAL" clId="{ACB75752-B454-4985-8E55-49CDF35B2A38}" dt="2023-09-12T08:05:23.547" v="1" actId="478"/>
        <pc:sldMkLst>
          <pc:docMk/>
          <pc:sldMk cId="869737009" sldId="257308"/>
        </pc:sldMkLst>
        <pc:grpChg chg="del">
          <ac:chgData name="Power. Damien (Contractor - EY)" userId="a1f4b3c0-1096-4948-b5f9-75b086acdda0" providerId="ADAL" clId="{ACB75752-B454-4985-8E55-49CDF35B2A38}" dt="2023-09-12T08:05:22.513" v="0" actId="478"/>
          <ac:grpSpMkLst>
            <pc:docMk/>
            <pc:sldMk cId="869737009" sldId="257308"/>
            <ac:grpSpMk id="33" creationId="{E6EDFB44-838C-1F8B-10C5-9B9AD63975B1}"/>
          </ac:grpSpMkLst>
        </pc:grpChg>
        <pc:grpChg chg="del">
          <ac:chgData name="Power. Damien (Contractor - EY)" userId="a1f4b3c0-1096-4948-b5f9-75b086acdda0" providerId="ADAL" clId="{ACB75752-B454-4985-8E55-49CDF35B2A38}" dt="2023-09-12T08:05:23.547" v="1" actId="478"/>
          <ac:grpSpMkLst>
            <pc:docMk/>
            <pc:sldMk cId="869737009" sldId="257308"/>
            <ac:grpSpMk id="53" creationId="{C101369C-7DFB-FBD3-5D72-35AB7BE3D53C}"/>
          </ac:grpSpMkLst>
        </pc:grpChg>
      </pc:sldChg>
    </pc:docChg>
  </pc:docChgLst>
  <pc:docChgLst>
    <pc:chgData name="Corcoran. Emer (ESB Networks)" userId="S::emer.corcoran@esb.ie::be6c6ed3-1caa-45fc-aff4-32e0fc3d4911" providerId="AD" clId="Web-{F3DAE0CC-1A10-1AD9-3B21-8D1A693A5DAE}"/>
    <pc:docChg chg="">
      <pc:chgData name="Corcoran. Emer (ESB Networks)" userId="S::emer.corcoran@esb.ie::be6c6ed3-1caa-45fc-aff4-32e0fc3d4911" providerId="AD" clId="Web-{F3DAE0CC-1A10-1AD9-3B21-8D1A693A5DAE}" dt="2024-02-22T16:40:29.748" v="0"/>
      <pc:docMkLst>
        <pc:docMk/>
      </pc:docMkLst>
      <pc:sldChg chg="modCm">
        <pc:chgData name="Corcoran. Emer (ESB Networks)" userId="S::emer.corcoran@esb.ie::be6c6ed3-1caa-45fc-aff4-32e0fc3d4911" providerId="AD" clId="Web-{F3DAE0CC-1A10-1AD9-3B21-8D1A693A5DAE}" dt="2024-02-22T16:40:29.748" v="0"/>
        <pc:sldMkLst>
          <pc:docMk/>
          <pc:sldMk cId="3704071719" sldId="257309"/>
        </pc:sldMkLst>
      </pc:sldChg>
    </pc:docChg>
  </pc:docChgLst>
  <pc:docChgLst>
    <pc:chgData name="O'Hagan. Sinead (Contractor - Ernst &amp; Young)" userId="37e0efa1-0107-4a6a-a201-5949a9329ddf" providerId="ADAL" clId="{148A7081-6F77-4BB3-A3CF-0745465F90E6}"/>
    <pc:docChg chg="modSld">
      <pc:chgData name="O'Hagan. Sinead (Contractor - Ernst &amp; Young)" userId="37e0efa1-0107-4a6a-a201-5949a9329ddf" providerId="ADAL" clId="{148A7081-6F77-4BB3-A3CF-0745465F90E6}" dt="2022-09-13T13:32:30.245" v="6" actId="1076"/>
      <pc:docMkLst>
        <pc:docMk/>
      </pc:docMkLst>
      <pc:sldChg chg="modSp mod">
        <pc:chgData name="O'Hagan. Sinead (Contractor - Ernst &amp; Young)" userId="37e0efa1-0107-4a6a-a201-5949a9329ddf" providerId="ADAL" clId="{148A7081-6F77-4BB3-A3CF-0745465F90E6}" dt="2022-09-13T13:30:29.682" v="2" actId="6549"/>
        <pc:sldMkLst>
          <pc:docMk/>
          <pc:sldMk cId="4083202202" sldId="1263"/>
        </pc:sldMkLst>
        <pc:spChg chg="mod">
          <ac:chgData name="O'Hagan. Sinead (Contractor - Ernst &amp; Young)" userId="37e0efa1-0107-4a6a-a201-5949a9329ddf" providerId="ADAL" clId="{148A7081-6F77-4BB3-A3CF-0745465F90E6}" dt="2022-09-13T13:30:29.682" v="2" actId="6549"/>
          <ac:spMkLst>
            <pc:docMk/>
            <pc:sldMk cId="4083202202" sldId="1263"/>
            <ac:spMk id="7" creationId="{A2A8F692-D027-40EA-BAA7-5DBCE4BB831E}"/>
          </ac:spMkLst>
        </pc:spChg>
      </pc:sldChg>
      <pc:sldChg chg="modSp mod">
        <pc:chgData name="O'Hagan. Sinead (Contractor - Ernst &amp; Young)" userId="37e0efa1-0107-4a6a-a201-5949a9329ddf" providerId="ADAL" clId="{148A7081-6F77-4BB3-A3CF-0745465F90E6}" dt="2022-09-13T13:32:30.245" v="6" actId="1076"/>
        <pc:sldMkLst>
          <pc:docMk/>
          <pc:sldMk cId="869737009" sldId="257308"/>
        </pc:sldMkLst>
        <pc:spChg chg="mod">
          <ac:chgData name="O'Hagan. Sinead (Contractor - Ernst &amp; Young)" userId="37e0efa1-0107-4a6a-a201-5949a9329ddf" providerId="ADAL" clId="{148A7081-6F77-4BB3-A3CF-0745465F90E6}" dt="2022-09-13T13:32:25.676" v="5" actId="1037"/>
          <ac:spMkLst>
            <pc:docMk/>
            <pc:sldMk cId="869737009" sldId="257308"/>
            <ac:spMk id="45" creationId="{4CD62EA2-37B0-4694-996A-4B1521E7A7F6}"/>
          </ac:spMkLst>
        </pc:spChg>
        <pc:spChg chg="mod">
          <ac:chgData name="O'Hagan. Sinead (Contractor - Ernst &amp; Young)" userId="37e0efa1-0107-4a6a-a201-5949a9329ddf" providerId="ADAL" clId="{148A7081-6F77-4BB3-A3CF-0745465F90E6}" dt="2022-09-13T13:32:30.245" v="6" actId="1076"/>
          <ac:spMkLst>
            <pc:docMk/>
            <pc:sldMk cId="869737009" sldId="257308"/>
            <ac:spMk id="46" creationId="{8261ECB8-5DEC-45BF-A43A-33D9D441AB3D}"/>
          </ac:spMkLst>
        </pc:spChg>
      </pc:sldChg>
    </pc:docChg>
  </pc:docChgLst>
  <pc:docChgLst>
    <pc:chgData name="Power. Damien (Contractor - EY)" userId="S::contractor.damien.power@esb.ie::a1f4b3c0-1096-4948-b5f9-75b086acdda0" providerId="AD" clId="Web-{C1826025-A3B9-4370-4E4F-A4A07547B109}"/>
    <pc:docChg chg="modSld">
      <pc:chgData name="Power. Damien (Contractor - EY)" userId="S::contractor.damien.power@esb.ie::a1f4b3c0-1096-4948-b5f9-75b086acdda0" providerId="AD" clId="Web-{C1826025-A3B9-4370-4E4F-A4A07547B109}" dt="2024-02-22T11:09:45.948" v="55"/>
      <pc:docMkLst>
        <pc:docMk/>
      </pc:docMkLst>
      <pc:sldChg chg="modSp modCm">
        <pc:chgData name="Power. Damien (Contractor - EY)" userId="S::contractor.damien.power@esb.ie::a1f4b3c0-1096-4948-b5f9-75b086acdda0" providerId="AD" clId="Web-{C1826025-A3B9-4370-4E4F-A4A07547B109}" dt="2024-02-22T11:09:45.948" v="55"/>
        <pc:sldMkLst>
          <pc:docMk/>
          <pc:sldMk cId="2678521947" sldId="257306"/>
        </pc:sldMkLst>
        <pc:spChg chg="mod">
          <ac:chgData name="Power. Damien (Contractor - EY)" userId="S::contractor.damien.power@esb.ie::a1f4b3c0-1096-4948-b5f9-75b086acdda0" providerId="AD" clId="Web-{C1826025-A3B9-4370-4E4F-A4A07547B109}" dt="2024-02-22T11:09:30.650" v="54" actId="20577"/>
          <ac:spMkLst>
            <pc:docMk/>
            <pc:sldMk cId="2678521947" sldId="257306"/>
            <ac:spMk id="4" creationId="{41825E9A-DF3E-44B2-A2BB-5D3F04B1C432}"/>
          </ac:spMkLst>
        </pc:spChg>
      </pc:sldChg>
    </pc:docChg>
  </pc:docChgLst>
  <pc:docChgLst>
    <pc:chgData name="Hassett. Rachel (Consultant - EY)" userId="S::consultant.rachel.hassett@esb.ie::b7d2e2b0-3019-4ec4-beb3-a42a62b65a21" providerId="AD" clId="Web-{F603D541-A3DF-8F80-0BDE-07B4399406B3}"/>
    <pc:docChg chg="">
      <pc:chgData name="Hassett. Rachel (Consultant - EY)" userId="S::consultant.rachel.hassett@esb.ie::b7d2e2b0-3019-4ec4-beb3-a42a62b65a21" providerId="AD" clId="Web-{F603D541-A3DF-8F80-0BDE-07B4399406B3}" dt="2024-02-22T11:19:31.586" v="1"/>
      <pc:docMkLst>
        <pc:docMk/>
      </pc:docMkLst>
      <pc:sldChg chg="addCm">
        <pc:chgData name="Hassett. Rachel (Consultant - EY)" userId="S::consultant.rachel.hassett@esb.ie::b7d2e2b0-3019-4ec4-beb3-a42a62b65a21" providerId="AD" clId="Web-{F603D541-A3DF-8F80-0BDE-07B4399406B3}" dt="2024-02-22T11:17:47.266" v="0"/>
        <pc:sldMkLst>
          <pc:docMk/>
          <pc:sldMk cId="4083202202" sldId="1263"/>
        </pc:sldMkLst>
      </pc:sldChg>
      <pc:sldChg chg="addCm">
        <pc:chgData name="Hassett. Rachel (Consultant - EY)" userId="S::consultant.rachel.hassett@esb.ie::b7d2e2b0-3019-4ec4-beb3-a42a62b65a21" providerId="AD" clId="Web-{F603D541-A3DF-8F80-0BDE-07B4399406B3}" dt="2024-02-22T11:19:31.586" v="1"/>
        <pc:sldMkLst>
          <pc:docMk/>
          <pc:sldMk cId="2678521947" sldId="257306"/>
        </pc:sldMkLst>
      </pc:sldChg>
    </pc:docChg>
  </pc:docChgLst>
  <pc:docChgLst>
    <pc:chgData name="O'Hagan. Sinead (Contractor - Ernst &amp; Young)" userId="37e0efa1-0107-4a6a-a201-5949a9329ddf" providerId="ADAL" clId="{F8C4FD5F-457A-4627-8A83-3236DCD0EB66}"/>
    <pc:docChg chg="custSel delSld modSld">
      <pc:chgData name="O'Hagan. Sinead (Contractor - Ernst &amp; Young)" userId="37e0efa1-0107-4a6a-a201-5949a9329ddf" providerId="ADAL" clId="{F8C4FD5F-457A-4627-8A83-3236DCD0EB66}" dt="2023-07-28T14:33:04.030" v="33" actId="47"/>
      <pc:docMkLst>
        <pc:docMk/>
      </pc:docMkLst>
      <pc:sldChg chg="modSp mod">
        <pc:chgData name="O'Hagan. Sinead (Contractor - Ernst &amp; Young)" userId="37e0efa1-0107-4a6a-a201-5949a9329ddf" providerId="ADAL" clId="{F8C4FD5F-457A-4627-8A83-3236DCD0EB66}" dt="2023-07-28T13:32:46.080" v="5" actId="20577"/>
        <pc:sldMkLst>
          <pc:docMk/>
          <pc:sldMk cId="4083202202" sldId="1263"/>
        </pc:sldMkLst>
        <pc:spChg chg="mod">
          <ac:chgData name="O'Hagan. Sinead (Contractor - Ernst &amp; Young)" userId="37e0efa1-0107-4a6a-a201-5949a9329ddf" providerId="ADAL" clId="{F8C4FD5F-457A-4627-8A83-3236DCD0EB66}" dt="2023-07-28T13:32:46.080" v="5" actId="20577"/>
          <ac:spMkLst>
            <pc:docMk/>
            <pc:sldMk cId="4083202202" sldId="1263"/>
            <ac:spMk id="7" creationId="{A2A8F692-D027-40EA-BAA7-5DBCE4BB831E}"/>
          </ac:spMkLst>
        </pc:spChg>
      </pc:sldChg>
      <pc:sldChg chg="modSp mod addCm">
        <pc:chgData name="O'Hagan. Sinead (Contractor - Ernst &amp; Young)" userId="37e0efa1-0107-4a6a-a201-5949a9329ddf" providerId="ADAL" clId="{F8C4FD5F-457A-4627-8A83-3236DCD0EB66}" dt="2023-07-28T13:35:59.706" v="29"/>
        <pc:sldMkLst>
          <pc:docMk/>
          <pc:sldMk cId="2678521947" sldId="257306"/>
        </pc:sldMkLst>
        <pc:spChg chg="mod">
          <ac:chgData name="O'Hagan. Sinead (Contractor - Ernst &amp; Young)" userId="37e0efa1-0107-4a6a-a201-5949a9329ddf" providerId="ADAL" clId="{F8C4FD5F-457A-4627-8A83-3236DCD0EB66}" dt="2023-07-28T13:34:45.523" v="28" actId="5793"/>
          <ac:spMkLst>
            <pc:docMk/>
            <pc:sldMk cId="2678521947" sldId="257306"/>
            <ac:spMk id="4" creationId="{41825E9A-DF3E-44B2-A2BB-5D3F04B1C432}"/>
          </ac:spMkLst>
        </pc:spChg>
      </pc:sldChg>
      <pc:sldChg chg="addCm">
        <pc:chgData name="O'Hagan. Sinead (Contractor - Ernst &amp; Young)" userId="37e0efa1-0107-4a6a-a201-5949a9329ddf" providerId="ADAL" clId="{F8C4FD5F-457A-4627-8A83-3236DCD0EB66}" dt="2023-07-28T13:37:18.297" v="30"/>
        <pc:sldMkLst>
          <pc:docMk/>
          <pc:sldMk cId="869737009" sldId="257308"/>
        </pc:sldMkLst>
      </pc:sldChg>
      <pc:sldChg chg="del">
        <pc:chgData name="O'Hagan. Sinead (Contractor - Ernst &amp; Young)" userId="37e0efa1-0107-4a6a-a201-5949a9329ddf" providerId="ADAL" clId="{F8C4FD5F-457A-4627-8A83-3236DCD0EB66}" dt="2023-07-28T14:33:03.485" v="32" actId="47"/>
        <pc:sldMkLst>
          <pc:docMk/>
          <pc:sldMk cId="2377924932" sldId="257309"/>
        </pc:sldMkLst>
      </pc:sldChg>
      <pc:sldChg chg="del">
        <pc:chgData name="O'Hagan. Sinead (Contractor - Ernst &amp; Young)" userId="37e0efa1-0107-4a6a-a201-5949a9329ddf" providerId="ADAL" clId="{F8C4FD5F-457A-4627-8A83-3236DCD0EB66}" dt="2023-07-28T14:33:02.363" v="31" actId="47"/>
        <pc:sldMkLst>
          <pc:docMk/>
          <pc:sldMk cId="3004886038" sldId="257515"/>
        </pc:sldMkLst>
      </pc:sldChg>
      <pc:sldChg chg="del">
        <pc:chgData name="O'Hagan. Sinead (Contractor - Ernst &amp; Young)" userId="37e0efa1-0107-4a6a-a201-5949a9329ddf" providerId="ADAL" clId="{F8C4FD5F-457A-4627-8A83-3236DCD0EB66}" dt="2023-07-28T14:33:04.030" v="33" actId="47"/>
        <pc:sldMkLst>
          <pc:docMk/>
          <pc:sldMk cId="2401740898" sldId="257560"/>
        </pc:sldMkLst>
      </pc:sldChg>
    </pc:docChg>
  </pc:docChgLst>
  <pc:docChgLst>
    <pc:chgData name="Power. Damien (Contractor - EY)" userId="S::contractor.damien.power@esb.ie::a1f4b3c0-1096-4948-b5f9-75b086acdda0" providerId="AD" clId="Web-{4D6E73D5-C078-6DC3-9FCD-5BC244C4246B}"/>
    <pc:docChg chg="modSld">
      <pc:chgData name="Power. Damien (Contractor - EY)" userId="S::contractor.damien.power@esb.ie::a1f4b3c0-1096-4948-b5f9-75b086acdda0" providerId="AD" clId="Web-{4D6E73D5-C078-6DC3-9FCD-5BC244C4246B}" dt="2024-02-23T09:21:28.032" v="2"/>
      <pc:docMkLst>
        <pc:docMk/>
      </pc:docMkLst>
      <pc:sldChg chg="mod modShow">
        <pc:chgData name="Power. Damien (Contractor - EY)" userId="S::contractor.damien.power@esb.ie::a1f4b3c0-1096-4948-b5f9-75b086acdda0" providerId="AD" clId="Web-{4D6E73D5-C078-6DC3-9FCD-5BC244C4246B}" dt="2024-02-23T09:21:28.032" v="2"/>
        <pc:sldMkLst>
          <pc:docMk/>
          <pc:sldMk cId="2678521947" sldId="257306"/>
        </pc:sldMkLst>
      </pc:sldChg>
      <pc:sldChg chg="modCm">
        <pc:chgData name="Power. Damien (Contractor - EY)" userId="S::contractor.damien.power@esb.ie::a1f4b3c0-1096-4948-b5f9-75b086acdda0" providerId="AD" clId="Web-{4D6E73D5-C078-6DC3-9FCD-5BC244C4246B}" dt="2024-02-23T09:21:15.016" v="1"/>
        <pc:sldMkLst>
          <pc:docMk/>
          <pc:sldMk cId="197788441" sldId="257307"/>
        </pc:sldMkLst>
      </pc:sldChg>
      <pc:sldChg chg="modCm">
        <pc:chgData name="Power. Damien (Contractor - EY)" userId="S::contractor.damien.power@esb.ie::a1f4b3c0-1096-4948-b5f9-75b086acdda0" providerId="AD" clId="Web-{4D6E73D5-C078-6DC3-9FCD-5BC244C4246B}" dt="2024-02-23T09:21:09.656" v="0"/>
        <pc:sldMkLst>
          <pc:docMk/>
          <pc:sldMk cId="2445383505" sldId="257310"/>
        </pc:sldMkLst>
      </pc:sldChg>
    </pc:docChg>
  </pc:docChgLst>
  <pc:docChgLst>
    <pc:chgData name="Duffy. Orla (Enterprise Services)" userId="c1acae2b-554a-40f5-b519-be38fcd739f2" providerId="ADAL" clId="{793B11A6-B043-4CA4-B5C1-3CED66378070}"/>
    <pc:docChg chg="modSld">
      <pc:chgData name="Duffy. Orla (Enterprise Services)" userId="c1acae2b-554a-40f5-b519-be38fcd739f2" providerId="ADAL" clId="{793B11A6-B043-4CA4-B5C1-3CED66378070}" dt="2022-08-03T12:34:58.760" v="4" actId="20577"/>
      <pc:docMkLst>
        <pc:docMk/>
      </pc:docMkLst>
      <pc:sldChg chg="modSp mod">
        <pc:chgData name="Duffy. Orla (Enterprise Services)" userId="c1acae2b-554a-40f5-b519-be38fcd739f2" providerId="ADAL" clId="{793B11A6-B043-4CA4-B5C1-3CED66378070}" dt="2022-08-03T12:34:58.760" v="4" actId="20577"/>
        <pc:sldMkLst>
          <pc:docMk/>
          <pc:sldMk cId="2678521947" sldId="257306"/>
        </pc:sldMkLst>
        <pc:spChg chg="mod">
          <ac:chgData name="Duffy. Orla (Enterprise Services)" userId="c1acae2b-554a-40f5-b519-be38fcd739f2" providerId="ADAL" clId="{793B11A6-B043-4CA4-B5C1-3CED66378070}" dt="2022-08-03T12:34:58.760" v="4" actId="20577"/>
          <ac:spMkLst>
            <pc:docMk/>
            <pc:sldMk cId="2678521947" sldId="257306"/>
            <ac:spMk id="4" creationId="{41825E9A-DF3E-44B2-A2BB-5D3F04B1C432}"/>
          </ac:spMkLst>
        </pc:spChg>
      </pc:sldChg>
    </pc:docChg>
  </pc:docChgLst>
  <pc:docChgLst>
    <pc:chgData name="Power. Damien (Contractor - EY)" userId="S::contractor.damien.power@esb.ie::a1f4b3c0-1096-4948-b5f9-75b086acdda0" providerId="AD" clId="Web-{A01FA7E0-CB53-B5A1-845A-CE2BC3457956}"/>
    <pc:docChg chg="">
      <pc:chgData name="Power. Damien (Contractor - EY)" userId="S::contractor.damien.power@esb.ie::a1f4b3c0-1096-4948-b5f9-75b086acdda0" providerId="AD" clId="Web-{A01FA7E0-CB53-B5A1-845A-CE2BC3457956}" dt="2024-02-29T14:05:51.797" v="2"/>
      <pc:docMkLst>
        <pc:docMk/>
      </pc:docMkLst>
      <pc:sldChg chg="delCm modCm">
        <pc:chgData name="Power. Damien (Contractor - EY)" userId="S::contractor.damien.power@esb.ie::a1f4b3c0-1096-4948-b5f9-75b086acdda0" providerId="AD" clId="Web-{A01FA7E0-CB53-B5A1-845A-CE2BC3457956}" dt="2024-02-29T14:05:51.797" v="2"/>
        <pc:sldMkLst>
          <pc:docMk/>
          <pc:sldMk cId="197788441" sldId="257307"/>
        </pc:sldMkLst>
        <pc:extLst>
          <p:ext xmlns:p="http://schemas.openxmlformats.org/presentationml/2006/main" uri="{D6D511B9-2390-475A-947B-AFAB55BFBCF1}">
            <pc226:cmChg xmlns:pc226="http://schemas.microsoft.com/office/powerpoint/2022/06/main/command" chg="del">
              <pc226:chgData name="Power. Damien (Contractor - EY)" userId="S::contractor.damien.power@esb.ie::a1f4b3c0-1096-4948-b5f9-75b086acdda0" providerId="AD" clId="Web-{A01FA7E0-CB53-B5A1-845A-CE2BC3457956}" dt="2024-02-29T14:05:51.797" v="2"/>
              <pc2:cmMkLst xmlns:pc2="http://schemas.microsoft.com/office/powerpoint/2019/9/main/command">
                <pc:docMk/>
                <pc:sldMk cId="197788441" sldId="257307"/>
                <pc2:cmMk id="{DE7F0380-854F-4F32-B887-8C2F2632E89A}"/>
              </pc2:cmMkLst>
              <pc226:cmRplyChg chg="add">
                <pc226:chgData name="Power. Damien (Contractor - EY)" userId="S::contractor.damien.power@esb.ie::a1f4b3c0-1096-4948-b5f9-75b086acdda0" providerId="AD" clId="Web-{A01FA7E0-CB53-B5A1-845A-CE2BC3457956}" dt="2024-02-29T14:05:45.250" v="1"/>
                <pc2:cmRplyMkLst xmlns:pc2="http://schemas.microsoft.com/office/powerpoint/2019/9/main/command">
                  <pc:docMk/>
                  <pc:sldMk cId="197788441" sldId="257307"/>
                  <pc2:cmMk id="{DE7F0380-854F-4F32-B887-8C2F2632E89A}"/>
                  <pc2:cmRplyMk id="{6D1BF001-365B-4A1E-91F5-2E35869657EF}"/>
                </pc2:cmRplyMkLst>
              </pc226:cmRplyChg>
              <pc226:cmRplyChg chg="mod modRxn">
                <pc226:chgData name="Power. Damien (Contractor - EY)" userId="S::contractor.damien.power@esb.ie::a1f4b3c0-1096-4948-b5f9-75b086acdda0" providerId="AD" clId="Web-{A01FA7E0-CB53-B5A1-845A-CE2BC3457956}" dt="2024-02-29T14:05:39.766" v="0"/>
                <pc2:cmRplyMkLst xmlns:pc2="http://schemas.microsoft.com/office/powerpoint/2019/9/main/command">
                  <pc:docMk/>
                  <pc:sldMk cId="197788441" sldId="257307"/>
                  <pc2:cmMk id="{DE7F0380-854F-4F32-B887-8C2F2632E89A}"/>
                  <pc2:cmRplyMk id="{A41020E4-BEAA-4334-A09B-69DC36E0F676}"/>
                </pc2:cmRplyMkLst>
              </pc226:cmRplyChg>
            </pc226:cmChg>
          </p:ext>
        </pc:extLst>
      </pc:sldChg>
    </pc:docChg>
  </pc:docChgLst>
  <pc:docChgLst>
    <pc:chgData name="Power. Damien (Contractor - EY)" userId="S::contractor.damien.power@esb.ie::a1f4b3c0-1096-4948-b5f9-75b086acdda0" providerId="AD" clId="Web-{489CE8E2-9390-547D-5821-4B1BCBA83A4B}"/>
    <pc:docChg chg="modSld">
      <pc:chgData name="Power. Damien (Contractor - EY)" userId="S::contractor.damien.power@esb.ie::a1f4b3c0-1096-4948-b5f9-75b086acdda0" providerId="AD" clId="Web-{489CE8E2-9390-547D-5821-4B1BCBA83A4B}" dt="2023-09-11T16:12:59.918" v="22" actId="1076"/>
      <pc:docMkLst>
        <pc:docMk/>
      </pc:docMkLst>
      <pc:sldChg chg="modSp modCm">
        <pc:chgData name="Power. Damien (Contractor - EY)" userId="S::contractor.damien.power@esb.ie::a1f4b3c0-1096-4948-b5f9-75b086acdda0" providerId="AD" clId="Web-{489CE8E2-9390-547D-5821-4B1BCBA83A4B}" dt="2023-09-11T14:25:47.818" v="14" actId="20577"/>
        <pc:sldMkLst>
          <pc:docMk/>
          <pc:sldMk cId="2678521947" sldId="257306"/>
        </pc:sldMkLst>
        <pc:spChg chg="mod">
          <ac:chgData name="Power. Damien (Contractor - EY)" userId="S::contractor.damien.power@esb.ie::a1f4b3c0-1096-4948-b5f9-75b086acdda0" providerId="AD" clId="Web-{489CE8E2-9390-547D-5821-4B1BCBA83A4B}" dt="2023-09-11T14:25:47.818" v="14" actId="20577"/>
          <ac:spMkLst>
            <pc:docMk/>
            <pc:sldMk cId="2678521947" sldId="257306"/>
            <ac:spMk id="4" creationId="{41825E9A-DF3E-44B2-A2BB-5D3F04B1C432}"/>
          </ac:spMkLst>
        </pc:spChg>
      </pc:sldChg>
      <pc:sldChg chg="modSp modCm">
        <pc:chgData name="Power. Damien (Contractor - EY)" userId="S::contractor.damien.power@esb.ie::a1f4b3c0-1096-4948-b5f9-75b086acdda0" providerId="AD" clId="Web-{489CE8E2-9390-547D-5821-4B1BCBA83A4B}" dt="2023-09-11T14:26:08.304" v="16"/>
        <pc:sldMkLst>
          <pc:docMk/>
          <pc:sldMk cId="197788441" sldId="257307"/>
        </pc:sldMkLst>
        <pc:spChg chg="mod">
          <ac:chgData name="Power. Damien (Contractor - EY)" userId="S::contractor.damien.power@esb.ie::a1f4b3c0-1096-4948-b5f9-75b086acdda0" providerId="AD" clId="Web-{489CE8E2-9390-547D-5821-4B1BCBA83A4B}" dt="2023-09-11T14:25:52.631" v="15" actId="20577"/>
          <ac:spMkLst>
            <pc:docMk/>
            <pc:sldMk cId="197788441" sldId="257307"/>
            <ac:spMk id="4" creationId="{41825E9A-DF3E-44B2-A2BB-5D3F04B1C432}"/>
          </ac:spMkLst>
        </pc:spChg>
      </pc:sldChg>
      <pc:sldChg chg="modSp delCm">
        <pc:chgData name="Power. Damien (Contractor - EY)" userId="S::contractor.damien.power@esb.ie::a1f4b3c0-1096-4948-b5f9-75b086acdda0" providerId="AD" clId="Web-{489CE8E2-9390-547D-5821-4B1BCBA83A4B}" dt="2023-09-11T16:12:59.918" v="22" actId="1076"/>
        <pc:sldMkLst>
          <pc:docMk/>
          <pc:sldMk cId="869737009" sldId="257308"/>
        </pc:sldMkLst>
        <pc:spChg chg="mod">
          <ac:chgData name="Power. Damien (Contractor - EY)" userId="S::contractor.damien.power@esb.ie::a1f4b3c0-1096-4948-b5f9-75b086acdda0" providerId="AD" clId="Web-{489CE8E2-9390-547D-5821-4B1BCBA83A4B}" dt="2023-09-11T14:26:37.072" v="17" actId="20577"/>
          <ac:spMkLst>
            <pc:docMk/>
            <pc:sldMk cId="869737009" sldId="257308"/>
            <ac:spMk id="2" creationId="{C6DCFC3A-B2E8-4F48-8027-60CD710926B0}"/>
          </ac:spMkLst>
        </pc:spChg>
        <pc:grpChg chg="mod">
          <ac:chgData name="Power. Damien (Contractor - EY)" userId="S::contractor.damien.power@esb.ie::a1f4b3c0-1096-4948-b5f9-75b086acdda0" providerId="AD" clId="Web-{489CE8E2-9390-547D-5821-4B1BCBA83A4B}" dt="2023-09-11T14:25:32.849" v="13" actId="1076"/>
          <ac:grpSpMkLst>
            <pc:docMk/>
            <pc:sldMk cId="869737009" sldId="257308"/>
            <ac:grpSpMk id="4" creationId="{2F9BAE89-2A14-4432-8826-56B468238900}"/>
          </ac:grpSpMkLst>
        </pc:grpChg>
        <pc:grpChg chg="mod">
          <ac:chgData name="Power. Damien (Contractor - EY)" userId="S::contractor.damien.power@esb.ie::a1f4b3c0-1096-4948-b5f9-75b086acdda0" providerId="AD" clId="Web-{489CE8E2-9390-547D-5821-4B1BCBA83A4B}" dt="2023-09-11T16:12:48.292" v="20" actId="1076"/>
          <ac:grpSpMkLst>
            <pc:docMk/>
            <pc:sldMk cId="869737009" sldId="257308"/>
            <ac:grpSpMk id="31" creationId="{FFD4ADDC-EFCB-830E-2A2E-C5FF7788014C}"/>
          </ac:grpSpMkLst>
        </pc:grpChg>
        <pc:grpChg chg="mod">
          <ac:chgData name="Power. Damien (Contractor - EY)" userId="S::contractor.damien.power@esb.ie::a1f4b3c0-1096-4948-b5f9-75b086acdda0" providerId="AD" clId="Web-{489CE8E2-9390-547D-5821-4B1BCBA83A4B}" dt="2023-09-11T16:12:59.918" v="22" actId="1076"/>
          <ac:grpSpMkLst>
            <pc:docMk/>
            <pc:sldMk cId="869737009" sldId="257308"/>
            <ac:grpSpMk id="33" creationId="{E6EDFB44-838C-1F8B-10C5-9B9AD63975B1}"/>
          </ac:grpSpMkLst>
        </pc:grpChg>
      </pc:sldChg>
    </pc:docChg>
  </pc:docChgLst>
  <pc:docChgLst>
    <pc:chgData name="Hassett. Rachel (Consultant - EY)" userId="S::consultant.rachel.hassett@esb.ie::b7d2e2b0-3019-4ec4-beb3-a42a62b65a21" providerId="AD" clId="Web-{A3EDBDBD-E792-5C2B-83B4-A6E3A2A1407B}"/>
    <pc:docChg chg="">
      <pc:chgData name="Hassett. Rachel (Consultant - EY)" userId="S::consultant.rachel.hassett@esb.ie::b7d2e2b0-3019-4ec4-beb3-a42a62b65a21" providerId="AD" clId="Web-{A3EDBDBD-E792-5C2B-83B4-A6E3A2A1407B}" dt="2024-02-22T11:22:11.014" v="1"/>
      <pc:docMkLst>
        <pc:docMk/>
      </pc:docMkLst>
      <pc:sldChg chg="modCm">
        <pc:chgData name="Hassett. Rachel (Consultant - EY)" userId="S::consultant.rachel.hassett@esb.ie::b7d2e2b0-3019-4ec4-beb3-a42a62b65a21" providerId="AD" clId="Web-{A3EDBDBD-E792-5C2B-83B4-A6E3A2A1407B}" dt="2024-02-22T11:22:11.014" v="1"/>
        <pc:sldMkLst>
          <pc:docMk/>
          <pc:sldMk cId="2678521947" sldId="257306"/>
        </pc:sldMkLst>
      </pc:sldChg>
      <pc:sldChg chg="addCm">
        <pc:chgData name="Hassett. Rachel (Consultant - EY)" userId="S::consultant.rachel.hassett@esb.ie::b7d2e2b0-3019-4ec4-beb3-a42a62b65a21" providerId="AD" clId="Web-{A3EDBDBD-E792-5C2B-83B4-A6E3A2A1407B}" dt="2024-02-22T11:21:52.826" v="0"/>
        <pc:sldMkLst>
          <pc:docMk/>
          <pc:sldMk cId="869737009" sldId="257308"/>
        </pc:sldMkLst>
      </pc:sldChg>
    </pc:docChg>
  </pc:docChgLst>
  <pc:docChgLst>
    <pc:chgData name="Corcoran. Emer (ESB Networks)" userId="S::emer.corcoran@esb.ie::be6c6ed3-1caa-45fc-aff4-32e0fc3d4911" providerId="AD" clId="Web-{2BA2E559-C572-846C-5F07-78DF13411A26}"/>
    <pc:docChg chg="">
      <pc:chgData name="Corcoran. Emer (ESB Networks)" userId="S::emer.corcoran@esb.ie::be6c6ed3-1caa-45fc-aff4-32e0fc3d4911" providerId="AD" clId="Web-{2BA2E559-C572-846C-5F07-78DF13411A26}" dt="2024-02-22T11:30:36.432" v="0"/>
      <pc:docMkLst>
        <pc:docMk/>
      </pc:docMkLst>
      <pc:sldChg chg="modCm">
        <pc:chgData name="Corcoran. Emer (ESB Networks)" userId="S::emer.corcoran@esb.ie::be6c6ed3-1caa-45fc-aff4-32e0fc3d4911" providerId="AD" clId="Web-{2BA2E559-C572-846C-5F07-78DF13411A26}" dt="2024-02-22T11:30:36.432" v="0"/>
        <pc:sldMkLst>
          <pc:docMk/>
          <pc:sldMk cId="4083202202" sldId="1263"/>
        </pc:sldMkLst>
      </pc:sldChg>
    </pc:docChg>
  </pc:docChgLst>
  <pc:docChgLst>
    <pc:chgData name="Power. Damien (Contractor - EY)" userId="a1f4b3c0-1096-4948-b5f9-75b086acdda0" providerId="ADAL" clId="{1B6C6C8B-1AD9-45B9-B346-7D0464EA1DE1}"/>
    <pc:docChg chg="undo custSel addSld modSld">
      <pc:chgData name="Power. Damien (Contractor - EY)" userId="a1f4b3c0-1096-4948-b5f9-75b086acdda0" providerId="ADAL" clId="{1B6C6C8B-1AD9-45B9-B346-7D0464EA1DE1}" dt="2024-02-22T16:29:24.788" v="44"/>
      <pc:docMkLst>
        <pc:docMk/>
      </pc:docMkLst>
      <pc:sldChg chg="mod modShow modCm">
        <pc:chgData name="Power. Damien (Contractor - EY)" userId="a1f4b3c0-1096-4948-b5f9-75b086acdda0" providerId="ADAL" clId="{1B6C6C8B-1AD9-45B9-B346-7D0464EA1DE1}" dt="2024-02-22T16:29:03.637" v="40"/>
        <pc:sldMkLst>
          <pc:docMk/>
          <pc:sldMk cId="869737009" sldId="257308"/>
        </pc:sldMkLst>
      </pc:sldChg>
      <pc:sldChg chg="delSp modSp add mod addCm delCm">
        <pc:chgData name="Power. Damien (Contractor - EY)" userId="a1f4b3c0-1096-4948-b5f9-75b086acdda0" providerId="ADAL" clId="{1B6C6C8B-1AD9-45B9-B346-7D0464EA1DE1}" dt="2024-02-22T16:29:24.788" v="44"/>
        <pc:sldMkLst>
          <pc:docMk/>
          <pc:sldMk cId="3704071719" sldId="257309"/>
        </pc:sldMkLst>
        <pc:spChg chg="mod">
          <ac:chgData name="Power. Damien (Contractor - EY)" userId="a1f4b3c0-1096-4948-b5f9-75b086acdda0" providerId="ADAL" clId="{1B6C6C8B-1AD9-45B9-B346-7D0464EA1DE1}" dt="2024-02-22T16:27:30.249" v="7" actId="1076"/>
          <ac:spMkLst>
            <pc:docMk/>
            <pc:sldMk cId="3704071719" sldId="257309"/>
            <ac:spMk id="11" creationId="{21D76DC2-1624-48F9-89BF-C18FC670CAD1}"/>
          </ac:spMkLst>
        </pc:spChg>
        <pc:spChg chg="mod">
          <ac:chgData name="Power. Damien (Contractor - EY)" userId="a1f4b3c0-1096-4948-b5f9-75b086acdda0" providerId="ADAL" clId="{1B6C6C8B-1AD9-45B9-B346-7D0464EA1DE1}" dt="2024-02-22T16:27:34.600" v="8" actId="1076"/>
          <ac:spMkLst>
            <pc:docMk/>
            <pc:sldMk cId="3704071719" sldId="257309"/>
            <ac:spMk id="19" creationId="{604A9FDE-2D23-AE51-713C-39844392E6C9}"/>
          </ac:spMkLst>
        </pc:spChg>
        <pc:spChg chg="mod">
          <ac:chgData name="Power. Damien (Contractor - EY)" userId="a1f4b3c0-1096-4948-b5f9-75b086acdda0" providerId="ADAL" clId="{1B6C6C8B-1AD9-45B9-B346-7D0464EA1DE1}" dt="2024-02-22T16:27:44.299" v="12" actId="1076"/>
          <ac:spMkLst>
            <pc:docMk/>
            <pc:sldMk cId="3704071719" sldId="257309"/>
            <ac:spMk id="21" creationId="{36266BC1-5D64-49B8-916D-EBA950332EFD}"/>
          </ac:spMkLst>
        </pc:spChg>
        <pc:spChg chg="mod">
          <ac:chgData name="Power. Damien (Contractor - EY)" userId="a1f4b3c0-1096-4948-b5f9-75b086acdda0" providerId="ADAL" clId="{1B6C6C8B-1AD9-45B9-B346-7D0464EA1DE1}" dt="2024-02-22T16:27:41.304" v="10" actId="1076"/>
          <ac:spMkLst>
            <pc:docMk/>
            <pc:sldMk cId="3704071719" sldId="257309"/>
            <ac:spMk id="37" creationId="{C5705680-0D67-4476-808D-279CDFB8AF39}"/>
          </ac:spMkLst>
        </pc:spChg>
        <pc:spChg chg="mod">
          <ac:chgData name="Power. Damien (Contractor - EY)" userId="a1f4b3c0-1096-4948-b5f9-75b086acdda0" providerId="ADAL" clId="{1B6C6C8B-1AD9-45B9-B346-7D0464EA1DE1}" dt="2024-02-22T16:27:38.592" v="9" actId="1076"/>
          <ac:spMkLst>
            <pc:docMk/>
            <pc:sldMk cId="3704071719" sldId="257309"/>
            <ac:spMk id="38" creationId="{9C0ECC14-AFBE-4075-B946-271FD04905E8}"/>
          </ac:spMkLst>
        </pc:spChg>
        <pc:spChg chg="mod">
          <ac:chgData name="Power. Damien (Contractor - EY)" userId="a1f4b3c0-1096-4948-b5f9-75b086acdda0" providerId="ADAL" clId="{1B6C6C8B-1AD9-45B9-B346-7D0464EA1DE1}" dt="2024-02-22T16:27:28.130" v="6" actId="1076"/>
          <ac:spMkLst>
            <pc:docMk/>
            <pc:sldMk cId="3704071719" sldId="257309"/>
            <ac:spMk id="39" creationId="{87DA2EFF-A58D-4A7C-8620-8E0B56467E26}"/>
          </ac:spMkLst>
        </pc:spChg>
        <pc:grpChg chg="mod">
          <ac:chgData name="Power. Damien (Contractor - EY)" userId="a1f4b3c0-1096-4948-b5f9-75b086acdda0" providerId="ADAL" clId="{1B6C6C8B-1AD9-45B9-B346-7D0464EA1DE1}" dt="2024-02-22T16:26:14.433" v="5" actId="1076"/>
          <ac:grpSpMkLst>
            <pc:docMk/>
            <pc:sldMk cId="3704071719" sldId="257309"/>
            <ac:grpSpMk id="6" creationId="{72B056AB-B24C-7360-C569-69D959CE3990}"/>
          </ac:grpSpMkLst>
        </pc:grpChg>
        <pc:grpChg chg="mod">
          <ac:chgData name="Power. Damien (Contractor - EY)" userId="a1f4b3c0-1096-4948-b5f9-75b086acdda0" providerId="ADAL" clId="{1B6C6C8B-1AD9-45B9-B346-7D0464EA1DE1}" dt="2024-02-22T16:26:14.433" v="5" actId="1076"/>
          <ac:grpSpMkLst>
            <pc:docMk/>
            <pc:sldMk cId="3704071719" sldId="257309"/>
            <ac:grpSpMk id="17" creationId="{ECBFE656-9F78-4DE0-2827-827A49FF349B}"/>
          </ac:grpSpMkLst>
        </pc:grpChg>
        <pc:grpChg chg="mod">
          <ac:chgData name="Power. Damien (Contractor - EY)" userId="a1f4b3c0-1096-4948-b5f9-75b086acdda0" providerId="ADAL" clId="{1B6C6C8B-1AD9-45B9-B346-7D0464EA1DE1}" dt="2024-02-22T16:26:14.433" v="5" actId="1076"/>
          <ac:grpSpMkLst>
            <pc:docMk/>
            <pc:sldMk cId="3704071719" sldId="257309"/>
            <ac:grpSpMk id="26" creationId="{603232C4-85CF-AC44-C1B2-6C761ECB7885}"/>
          </ac:grpSpMkLst>
        </pc:grpChg>
        <pc:grpChg chg="mod">
          <ac:chgData name="Power. Damien (Contractor - EY)" userId="a1f4b3c0-1096-4948-b5f9-75b086acdda0" providerId="ADAL" clId="{1B6C6C8B-1AD9-45B9-B346-7D0464EA1DE1}" dt="2024-02-22T16:26:14.433" v="5" actId="1076"/>
          <ac:grpSpMkLst>
            <pc:docMk/>
            <pc:sldMk cId="3704071719" sldId="257309"/>
            <ac:grpSpMk id="27" creationId="{4F1323D7-D6BB-5AEE-ECE3-2903D966FCFF}"/>
          </ac:grpSpMkLst>
        </pc:grpChg>
        <pc:grpChg chg="mod">
          <ac:chgData name="Power. Damien (Contractor - EY)" userId="a1f4b3c0-1096-4948-b5f9-75b086acdda0" providerId="ADAL" clId="{1B6C6C8B-1AD9-45B9-B346-7D0464EA1DE1}" dt="2024-02-22T16:26:01.292" v="4" actId="1076"/>
          <ac:grpSpMkLst>
            <pc:docMk/>
            <pc:sldMk cId="3704071719" sldId="257309"/>
            <ac:grpSpMk id="30" creationId="{7761D0AB-7D82-ED8E-56D5-50A3D77537BD}"/>
          </ac:grpSpMkLst>
        </pc:grpChg>
        <pc:grpChg chg="mod">
          <ac:chgData name="Power. Damien (Contractor - EY)" userId="a1f4b3c0-1096-4948-b5f9-75b086acdda0" providerId="ADAL" clId="{1B6C6C8B-1AD9-45B9-B346-7D0464EA1DE1}" dt="2024-02-22T16:28:00.182" v="39" actId="1036"/>
          <ac:grpSpMkLst>
            <pc:docMk/>
            <pc:sldMk cId="3704071719" sldId="257309"/>
            <ac:grpSpMk id="48" creationId="{C4A3EE3B-20A5-D8EF-64A1-51F02429A736}"/>
          </ac:grpSpMkLst>
        </pc:grpChg>
        <pc:grpChg chg="mod">
          <ac:chgData name="Power. Damien (Contractor - EY)" userId="a1f4b3c0-1096-4948-b5f9-75b086acdda0" providerId="ADAL" clId="{1B6C6C8B-1AD9-45B9-B346-7D0464EA1DE1}" dt="2024-02-22T16:27:53.649" v="26" actId="1036"/>
          <ac:grpSpMkLst>
            <pc:docMk/>
            <pc:sldMk cId="3704071719" sldId="257309"/>
            <ac:grpSpMk id="57" creationId="{FFBABC1E-54F5-EEFE-8E5C-1F83DC2D915B}"/>
          </ac:grpSpMkLst>
        </pc:grpChg>
        <pc:grpChg chg="del">
          <ac:chgData name="Power. Damien (Contractor - EY)" userId="a1f4b3c0-1096-4948-b5f9-75b086acdda0" providerId="ADAL" clId="{1B6C6C8B-1AD9-45B9-B346-7D0464EA1DE1}" dt="2024-02-22T16:25:30.317" v="3" actId="478"/>
          <ac:grpSpMkLst>
            <pc:docMk/>
            <pc:sldMk cId="3704071719" sldId="257309"/>
            <ac:grpSpMk id="64" creationId="{F9C977CA-50E1-3414-25D9-2A837091B197}"/>
          </ac:grpSpMkLst>
        </pc:grpChg>
        <pc:picChg chg="del">
          <ac:chgData name="Power. Damien (Contractor - EY)" userId="a1f4b3c0-1096-4948-b5f9-75b086acdda0" providerId="ADAL" clId="{1B6C6C8B-1AD9-45B9-B346-7D0464EA1DE1}" dt="2024-02-22T16:25:24.925" v="2" actId="478"/>
          <ac:picMkLst>
            <pc:docMk/>
            <pc:sldMk cId="3704071719" sldId="257309"/>
            <ac:picMk id="67" creationId="{8BB2293B-27F6-1315-971C-4C86357D565A}"/>
          </ac:picMkLst>
        </pc:picChg>
      </pc:sldChg>
    </pc:docChg>
  </pc:docChgLst>
  <pc:docChgLst>
    <pc:chgData name="Duffy. Orla (Enterprise Services)" userId="c1acae2b-554a-40f5-b519-be38fcd739f2" providerId="ADAL" clId="{ACCD579B-22D9-457E-9751-26BA50B66162}"/>
    <pc:docChg chg="undo custSel addSld delSld modSld">
      <pc:chgData name="Duffy. Orla (Enterprise Services)" userId="c1acae2b-554a-40f5-b519-be38fcd739f2" providerId="ADAL" clId="{ACCD579B-22D9-457E-9751-26BA50B66162}" dt="2022-06-29T10:44:28.854" v="69" actId="1076"/>
      <pc:docMkLst>
        <pc:docMk/>
      </pc:docMkLst>
      <pc:sldChg chg="del addCm modCm">
        <pc:chgData name="Duffy. Orla (Enterprise Services)" userId="c1acae2b-554a-40f5-b519-be38fcd739f2" providerId="ADAL" clId="{ACCD579B-22D9-457E-9751-26BA50B66162}" dt="2022-06-29T10:42:09.867" v="3" actId="47"/>
        <pc:sldMkLst>
          <pc:docMk/>
          <pc:sldMk cId="4273931027" sldId="257305"/>
        </pc:sldMkLst>
      </pc:sldChg>
      <pc:sldChg chg="addSp delSp modSp add mod delCm">
        <pc:chgData name="Duffy. Orla (Enterprise Services)" userId="c1acae2b-554a-40f5-b519-be38fcd739f2" providerId="ADAL" clId="{ACCD579B-22D9-457E-9751-26BA50B66162}" dt="2022-06-29T10:44:28.854" v="69" actId="1076"/>
        <pc:sldMkLst>
          <pc:docMk/>
          <pc:sldMk cId="2975930892" sldId="257309"/>
        </pc:sldMkLst>
        <pc:spChg chg="add del mod">
          <ac:chgData name="Duffy. Orla (Enterprise Services)" userId="c1acae2b-554a-40f5-b519-be38fcd739f2" providerId="ADAL" clId="{ACCD579B-22D9-457E-9751-26BA50B66162}" dt="2022-06-29T10:43:28.562" v="37" actId="478"/>
          <ac:spMkLst>
            <pc:docMk/>
            <pc:sldMk cId="2975930892" sldId="257309"/>
            <ac:spMk id="7" creationId="{B6773970-C343-423D-A03B-1424FEE86227}"/>
          </ac:spMkLst>
        </pc:spChg>
        <pc:spChg chg="add del">
          <ac:chgData name="Duffy. Orla (Enterprise Services)" userId="c1acae2b-554a-40f5-b519-be38fcd739f2" providerId="ADAL" clId="{ACCD579B-22D9-457E-9751-26BA50B66162}" dt="2022-06-29T10:43:24.946" v="36"/>
          <ac:spMkLst>
            <pc:docMk/>
            <pc:sldMk cId="2975930892" sldId="257309"/>
            <ac:spMk id="9" creationId="{61F5C728-D248-4E9D-B64F-E2C060A2A3A1}"/>
          </ac:spMkLst>
        </pc:spChg>
        <pc:spChg chg="add del">
          <ac:chgData name="Duffy. Orla (Enterprise Services)" userId="c1acae2b-554a-40f5-b519-be38fcd739f2" providerId="ADAL" clId="{ACCD579B-22D9-457E-9751-26BA50B66162}" dt="2022-06-29T10:43:24.946" v="36"/>
          <ac:spMkLst>
            <pc:docMk/>
            <pc:sldMk cId="2975930892" sldId="257309"/>
            <ac:spMk id="10" creationId="{6B5730BD-FA88-49F1-9367-1A4747075F20}"/>
          </ac:spMkLst>
        </pc:spChg>
        <pc:spChg chg="add del">
          <ac:chgData name="Duffy. Orla (Enterprise Services)" userId="c1acae2b-554a-40f5-b519-be38fcd739f2" providerId="ADAL" clId="{ACCD579B-22D9-457E-9751-26BA50B66162}" dt="2022-06-29T10:43:32.161" v="39"/>
          <ac:spMkLst>
            <pc:docMk/>
            <pc:sldMk cId="2975930892" sldId="257309"/>
            <ac:spMk id="11" creationId="{13D6015B-BE08-4663-9949-FE60236A3556}"/>
          </ac:spMkLst>
        </pc:spChg>
        <pc:spChg chg="add del">
          <ac:chgData name="Duffy. Orla (Enterprise Services)" userId="c1acae2b-554a-40f5-b519-be38fcd739f2" providerId="ADAL" clId="{ACCD579B-22D9-457E-9751-26BA50B66162}" dt="2022-06-29T10:43:32.161" v="39"/>
          <ac:spMkLst>
            <pc:docMk/>
            <pc:sldMk cId="2975930892" sldId="257309"/>
            <ac:spMk id="12" creationId="{2F81DE1D-D2CA-4360-8A98-14814239D55D}"/>
          </ac:spMkLst>
        </pc:spChg>
        <pc:spChg chg="del">
          <ac:chgData name="Duffy. Orla (Enterprise Services)" userId="c1acae2b-554a-40f5-b519-be38fcd739f2" providerId="ADAL" clId="{ACCD579B-22D9-457E-9751-26BA50B66162}" dt="2022-06-29T10:42:36.744" v="11" actId="478"/>
          <ac:spMkLst>
            <pc:docMk/>
            <pc:sldMk cId="2975930892" sldId="257309"/>
            <ac:spMk id="23" creationId="{711A0C00-CF82-432F-BBF8-A87DEBEC288F}"/>
          </ac:spMkLst>
        </pc:spChg>
        <pc:spChg chg="mod">
          <ac:chgData name="Duffy. Orla (Enterprise Services)" userId="c1acae2b-554a-40f5-b519-be38fcd739f2" providerId="ADAL" clId="{ACCD579B-22D9-457E-9751-26BA50B66162}" dt="2022-06-29T10:44:26.518" v="68" actId="207"/>
          <ac:spMkLst>
            <pc:docMk/>
            <pc:sldMk cId="2975930892" sldId="257309"/>
            <ac:spMk id="49" creationId="{CC028DBD-5BB0-4F46-A8D2-AB48A34164A7}"/>
          </ac:spMkLst>
        </pc:spChg>
        <pc:spChg chg="add mod">
          <ac:chgData name="Duffy. Orla (Enterprise Services)" userId="c1acae2b-554a-40f5-b519-be38fcd739f2" providerId="ADAL" clId="{ACCD579B-22D9-457E-9751-26BA50B66162}" dt="2022-06-29T10:44:28.854" v="69" actId="1076"/>
          <ac:spMkLst>
            <pc:docMk/>
            <pc:sldMk cId="2975930892" sldId="257309"/>
            <ac:spMk id="114" creationId="{CF4844C0-6FA2-4BF8-974C-02911C651FA3}"/>
          </ac:spMkLst>
        </pc:spChg>
        <pc:picChg chg="add del">
          <ac:chgData name="Duffy. Orla (Enterprise Services)" userId="c1acae2b-554a-40f5-b519-be38fcd739f2" providerId="ADAL" clId="{ACCD579B-22D9-457E-9751-26BA50B66162}" dt="2022-06-29T10:43:24.946" v="36"/>
          <ac:picMkLst>
            <pc:docMk/>
            <pc:sldMk cId="2975930892" sldId="257309"/>
            <ac:picMk id="106497" creationId="{E5224E0B-14B7-4EDC-AEA8-39A8DA4BB380}"/>
          </ac:picMkLst>
        </pc:picChg>
        <pc:picChg chg="add del">
          <ac:chgData name="Duffy. Orla (Enterprise Services)" userId="c1acae2b-554a-40f5-b519-be38fcd739f2" providerId="ADAL" clId="{ACCD579B-22D9-457E-9751-26BA50B66162}" dt="2022-06-29T10:43:32.161" v="39"/>
          <ac:picMkLst>
            <pc:docMk/>
            <pc:sldMk cId="2975930892" sldId="257309"/>
            <ac:picMk id="106500" creationId="{1256BD96-A0B7-46B1-A4DA-35E6390C2943}"/>
          </ac:picMkLst>
        </pc:picChg>
      </pc:sldChg>
    </pc:docChg>
  </pc:docChgLst>
  <pc:docChgLst>
    <pc:chgData name="Power. Damien (Contractor - EY)" userId="S::contractor.damien.power@esb.ie::a1f4b3c0-1096-4948-b5f9-75b086acdda0" providerId="AD" clId="Web-{B8199B61-4080-B2D5-01BB-82224072C907}"/>
    <pc:docChg chg="modSld">
      <pc:chgData name="Power. Damien (Contractor - EY)" userId="S::contractor.damien.power@esb.ie::a1f4b3c0-1096-4948-b5f9-75b086acdda0" providerId="AD" clId="Web-{B8199B61-4080-B2D5-01BB-82224072C907}" dt="2024-02-22T12:15:09.958" v="27" actId="1076"/>
      <pc:docMkLst>
        <pc:docMk/>
      </pc:docMkLst>
      <pc:sldChg chg="modSp modCm">
        <pc:chgData name="Power. Damien (Contractor - EY)" userId="S::contractor.damien.power@esb.ie::a1f4b3c0-1096-4948-b5f9-75b086acdda0" providerId="AD" clId="Web-{B8199B61-4080-B2D5-01BB-82224072C907}" dt="2024-02-22T12:14:43.566" v="24"/>
        <pc:sldMkLst>
          <pc:docMk/>
          <pc:sldMk cId="4083202202" sldId="1263"/>
        </pc:sldMkLst>
        <pc:spChg chg="mod">
          <ac:chgData name="Power. Damien (Contractor - EY)" userId="S::contractor.damien.power@esb.ie::a1f4b3c0-1096-4948-b5f9-75b086acdda0" providerId="AD" clId="Web-{B8199B61-4080-B2D5-01BB-82224072C907}" dt="2024-02-22T12:14:37.972" v="23" actId="20577"/>
          <ac:spMkLst>
            <pc:docMk/>
            <pc:sldMk cId="4083202202" sldId="1263"/>
            <ac:spMk id="4" creationId="{18A7FD6C-669C-49E2-8A61-FFF2CD66CFFE}"/>
          </ac:spMkLst>
        </pc:spChg>
      </pc:sldChg>
      <pc:sldChg chg="modSp modCm">
        <pc:chgData name="Power. Damien (Contractor - EY)" userId="S::contractor.damien.power@esb.ie::a1f4b3c0-1096-4948-b5f9-75b086acdda0" providerId="AD" clId="Web-{B8199B61-4080-B2D5-01BB-82224072C907}" dt="2024-02-22T12:14:22.831" v="22" actId="20577"/>
        <pc:sldMkLst>
          <pc:docMk/>
          <pc:sldMk cId="2678521947" sldId="257306"/>
        </pc:sldMkLst>
        <pc:spChg chg="mod">
          <ac:chgData name="Power. Damien (Contractor - EY)" userId="S::contractor.damien.power@esb.ie::a1f4b3c0-1096-4948-b5f9-75b086acdda0" providerId="AD" clId="Web-{B8199B61-4080-B2D5-01BB-82224072C907}" dt="2024-02-22T12:14:22.831" v="22" actId="20577"/>
          <ac:spMkLst>
            <pc:docMk/>
            <pc:sldMk cId="2678521947" sldId="257306"/>
            <ac:spMk id="4" creationId="{41825E9A-DF3E-44B2-A2BB-5D3F04B1C432}"/>
          </ac:spMkLst>
        </pc:spChg>
      </pc:sldChg>
      <pc:sldChg chg="modCm">
        <pc:chgData name="Power. Damien (Contractor - EY)" userId="S::contractor.damien.power@esb.ie::a1f4b3c0-1096-4948-b5f9-75b086acdda0" providerId="AD" clId="Web-{B8199B61-4080-B2D5-01BB-82224072C907}" dt="2024-02-22T11:34:53.457" v="10"/>
        <pc:sldMkLst>
          <pc:docMk/>
          <pc:sldMk cId="197788441" sldId="257307"/>
        </pc:sldMkLst>
      </pc:sldChg>
      <pc:sldChg chg="addSp modSp modCm">
        <pc:chgData name="Power. Damien (Contractor - EY)" userId="S::contractor.damien.power@esb.ie::a1f4b3c0-1096-4948-b5f9-75b086acdda0" providerId="AD" clId="Web-{B8199B61-4080-B2D5-01BB-82224072C907}" dt="2024-02-22T12:15:09.958" v="27" actId="1076"/>
        <pc:sldMkLst>
          <pc:docMk/>
          <pc:sldMk cId="869737009" sldId="257308"/>
        </pc:sldMkLst>
        <pc:spChg chg="mod">
          <ac:chgData name="Power. Damien (Contractor - EY)" userId="S::contractor.damien.power@esb.ie::a1f4b3c0-1096-4948-b5f9-75b086acdda0" providerId="AD" clId="Web-{B8199B61-4080-B2D5-01BB-82224072C907}" dt="2024-02-22T12:15:09.958" v="27" actId="1076"/>
          <ac:spMkLst>
            <pc:docMk/>
            <pc:sldMk cId="869737009" sldId="257308"/>
            <ac:spMk id="19" creationId="{604A9FDE-2D23-AE51-713C-39844392E6C9}"/>
          </ac:spMkLst>
        </pc:spChg>
        <pc:grpChg chg="add mod">
          <ac:chgData name="Power. Damien (Contractor - EY)" userId="S::contractor.damien.power@esb.ie::a1f4b3c0-1096-4948-b5f9-75b086acdda0" providerId="AD" clId="Web-{B8199B61-4080-B2D5-01BB-82224072C907}" dt="2024-02-22T11:32:54.391" v="3" actId="1076"/>
          <ac:grpSpMkLst>
            <pc:docMk/>
            <pc:sldMk cId="869737009" sldId="257308"/>
            <ac:grpSpMk id="17" creationId="{ECBFE656-9F78-4DE0-2827-827A49FF349B}"/>
          </ac:grpSpMkLst>
        </pc:grpChg>
        <pc:grpChg chg="mod">
          <ac:chgData name="Power. Damien (Contractor - EY)" userId="S::contractor.damien.power@esb.ie::a1f4b3c0-1096-4948-b5f9-75b086acdda0" providerId="AD" clId="Web-{B8199B61-4080-B2D5-01BB-82224072C907}" dt="2024-02-22T11:38:31.105" v="17" actId="1076"/>
          <ac:grpSpMkLst>
            <pc:docMk/>
            <pc:sldMk cId="869737009" sldId="257308"/>
            <ac:grpSpMk id="27" creationId="{4F1323D7-D6BB-5AEE-ECE3-2903D966FCFF}"/>
          </ac:grpSpMkLst>
        </pc:grpChg>
      </pc:sldChg>
    </pc:docChg>
  </pc:docChgLst>
  <pc:docChgLst>
    <pc:chgData name="Power. Damien (Contractor - EY)" userId="S::contractor.damien.power@esb.ie::a1f4b3c0-1096-4948-b5f9-75b086acdda0" providerId="AD" clId="Web-{AAC9126B-5EDF-30C2-3102-20D49D5029DD}"/>
    <pc:docChg chg="modSld">
      <pc:chgData name="Power. Damien (Contractor - EY)" userId="S::contractor.damien.power@esb.ie::a1f4b3c0-1096-4948-b5f9-75b086acdda0" providerId="AD" clId="Web-{AAC9126B-5EDF-30C2-3102-20D49D5029DD}" dt="2024-02-22T14:32:30.674" v="10"/>
      <pc:docMkLst>
        <pc:docMk/>
      </pc:docMkLst>
      <pc:sldChg chg="modCm">
        <pc:chgData name="Power. Damien (Contractor - EY)" userId="S::contractor.damien.power@esb.ie::a1f4b3c0-1096-4948-b5f9-75b086acdda0" providerId="AD" clId="Web-{AAC9126B-5EDF-30C2-3102-20D49D5029DD}" dt="2024-02-22T14:32:30.674" v="10"/>
        <pc:sldMkLst>
          <pc:docMk/>
          <pc:sldMk cId="2678521947" sldId="257306"/>
        </pc:sldMkLst>
      </pc:sldChg>
      <pc:sldChg chg="addSp modSp modCm">
        <pc:chgData name="Power. Damien (Contractor - EY)" userId="S::contractor.damien.power@esb.ie::a1f4b3c0-1096-4948-b5f9-75b086acdda0" providerId="AD" clId="Web-{AAC9126B-5EDF-30C2-3102-20D49D5029DD}" dt="2024-02-22T14:32:17.548" v="9"/>
        <pc:sldMkLst>
          <pc:docMk/>
          <pc:sldMk cId="869737009" sldId="257308"/>
        </pc:sldMkLst>
        <pc:spChg chg="mod">
          <ac:chgData name="Power. Damien (Contractor - EY)" userId="S::contractor.damien.power@esb.ie::a1f4b3c0-1096-4948-b5f9-75b086acdda0" providerId="AD" clId="Web-{AAC9126B-5EDF-30C2-3102-20D49D5029DD}" dt="2024-02-22T14:30:40.821" v="3" actId="1076"/>
          <ac:spMkLst>
            <pc:docMk/>
            <pc:sldMk cId="869737009" sldId="257308"/>
            <ac:spMk id="40" creationId="{DB012CF6-598B-4F01-8974-8FCCCF89B5DC}"/>
          </ac:spMkLst>
        </pc:spChg>
        <pc:spChg chg="mod">
          <ac:chgData name="Power. Damien (Contractor - EY)" userId="S::contractor.damien.power@esb.ie::a1f4b3c0-1096-4948-b5f9-75b086acdda0" providerId="AD" clId="Web-{AAC9126B-5EDF-30C2-3102-20D49D5029DD}" dt="2024-02-22T14:30:35.180" v="2" actId="20577"/>
          <ac:spMkLst>
            <pc:docMk/>
            <pc:sldMk cId="869737009" sldId="257308"/>
            <ac:spMk id="63" creationId="{4BFD9745-B8DA-2A65-8E69-AD64C448CFF8}"/>
          </ac:spMkLst>
        </pc:spChg>
        <pc:grpChg chg="add mod">
          <ac:chgData name="Power. Damien (Contractor - EY)" userId="S::contractor.damien.power@esb.ie::a1f4b3c0-1096-4948-b5f9-75b086acdda0" providerId="AD" clId="Web-{AAC9126B-5EDF-30C2-3102-20D49D5029DD}" dt="2024-02-22T14:30:24.429" v="1" actId="1076"/>
          <ac:grpSpMkLst>
            <pc:docMk/>
            <pc:sldMk cId="869737009" sldId="257308"/>
            <ac:grpSpMk id="55" creationId="{C39442D7-8967-C684-9C0C-51E14C9D28B4}"/>
          </ac:grpSpMkLst>
        </pc:grpChg>
        <pc:grpChg chg="add mod">
          <ac:chgData name="Power. Damien (Contractor - EY)" userId="S::contractor.damien.power@esb.ie::a1f4b3c0-1096-4948-b5f9-75b086acdda0" providerId="AD" clId="Web-{AAC9126B-5EDF-30C2-3102-20D49D5029DD}" dt="2024-02-22T14:31:46.858" v="6" actId="1076"/>
          <ac:grpSpMkLst>
            <pc:docMk/>
            <pc:sldMk cId="869737009" sldId="257308"/>
            <ac:grpSpMk id="64" creationId="{F9C977CA-50E1-3414-25D9-2A837091B197}"/>
          </ac:grpSpMkLst>
        </pc:grpChg>
        <pc:picChg chg="add mod">
          <ac:chgData name="Power. Damien (Contractor - EY)" userId="S::contractor.damien.power@esb.ie::a1f4b3c0-1096-4948-b5f9-75b086acdda0" providerId="AD" clId="Web-{AAC9126B-5EDF-30C2-3102-20D49D5029DD}" dt="2024-02-22T14:32:17.548" v="9"/>
          <ac:picMkLst>
            <pc:docMk/>
            <pc:sldMk cId="869737009" sldId="257308"/>
            <ac:picMk id="67" creationId="{8BB2293B-27F6-1315-971C-4C86357D565A}"/>
          </ac:picMkLst>
        </pc:picChg>
      </pc:sldChg>
    </pc:docChg>
  </pc:docChgLst>
  <pc:docChgLst>
    <pc:chgData name="O'Hagan. Sinead (Contractor - Ernst &amp; Young)" userId="37e0efa1-0107-4a6a-a201-5949a9329ddf" providerId="ADAL" clId="{1259E899-5549-420B-8E70-4B4871B784BD}"/>
    <pc:docChg chg="undo custSel addSld modSld">
      <pc:chgData name="O'Hagan. Sinead (Contractor - Ernst &amp; Young)" userId="37e0efa1-0107-4a6a-a201-5949a9329ddf" providerId="ADAL" clId="{1259E899-5549-420B-8E70-4B4871B784BD}" dt="2023-02-14T16:58:51.254" v="462" actId="729"/>
      <pc:docMkLst>
        <pc:docMk/>
      </pc:docMkLst>
      <pc:sldChg chg="modSp mod">
        <pc:chgData name="O'Hagan. Sinead (Contractor - Ernst &amp; Young)" userId="37e0efa1-0107-4a6a-a201-5949a9329ddf" providerId="ADAL" clId="{1259E899-5549-420B-8E70-4B4871B784BD}" dt="2023-02-14T15:45:09.252" v="28" actId="20577"/>
        <pc:sldMkLst>
          <pc:docMk/>
          <pc:sldMk cId="4083202202" sldId="1263"/>
        </pc:sldMkLst>
        <pc:spChg chg="mod">
          <ac:chgData name="O'Hagan. Sinead (Contractor - Ernst &amp; Young)" userId="37e0efa1-0107-4a6a-a201-5949a9329ddf" providerId="ADAL" clId="{1259E899-5549-420B-8E70-4B4871B784BD}" dt="2023-02-14T15:45:04.031" v="20" actId="20577"/>
          <ac:spMkLst>
            <pc:docMk/>
            <pc:sldMk cId="4083202202" sldId="1263"/>
            <ac:spMk id="4" creationId="{18A7FD6C-669C-49E2-8A61-FFF2CD66CFFE}"/>
          </ac:spMkLst>
        </pc:spChg>
        <pc:spChg chg="mod">
          <ac:chgData name="O'Hagan. Sinead (Contractor - Ernst &amp; Young)" userId="37e0efa1-0107-4a6a-a201-5949a9329ddf" providerId="ADAL" clId="{1259E899-5549-420B-8E70-4B4871B784BD}" dt="2023-02-14T15:45:09.252" v="28" actId="20577"/>
          <ac:spMkLst>
            <pc:docMk/>
            <pc:sldMk cId="4083202202" sldId="1263"/>
            <ac:spMk id="7" creationId="{A2A8F692-D027-40EA-BAA7-5DBCE4BB831E}"/>
          </ac:spMkLst>
        </pc:spChg>
      </pc:sldChg>
      <pc:sldChg chg="modSp mod">
        <pc:chgData name="O'Hagan. Sinead (Contractor - Ernst &amp; Young)" userId="37e0efa1-0107-4a6a-a201-5949a9329ddf" providerId="ADAL" clId="{1259E899-5549-420B-8E70-4B4871B784BD}" dt="2023-02-14T16:53:27.163" v="400" actId="108"/>
        <pc:sldMkLst>
          <pc:docMk/>
          <pc:sldMk cId="2678521947" sldId="257306"/>
        </pc:sldMkLst>
        <pc:spChg chg="mod">
          <ac:chgData name="O'Hagan. Sinead (Contractor - Ernst &amp; Young)" userId="37e0efa1-0107-4a6a-a201-5949a9329ddf" providerId="ADAL" clId="{1259E899-5549-420B-8E70-4B4871B784BD}" dt="2023-02-14T16:53:27.163" v="400" actId="108"/>
          <ac:spMkLst>
            <pc:docMk/>
            <pc:sldMk cId="2678521947" sldId="257306"/>
            <ac:spMk id="4" creationId="{41825E9A-DF3E-44B2-A2BB-5D3F04B1C432}"/>
          </ac:spMkLst>
        </pc:spChg>
      </pc:sldChg>
      <pc:sldChg chg="modSp mod">
        <pc:chgData name="O'Hagan. Sinead (Contractor - Ernst &amp; Young)" userId="37e0efa1-0107-4a6a-a201-5949a9329ddf" providerId="ADAL" clId="{1259E899-5549-420B-8E70-4B4871B784BD}" dt="2023-02-14T16:20:07.773" v="363" actId="13926"/>
        <pc:sldMkLst>
          <pc:docMk/>
          <pc:sldMk cId="197788441" sldId="257307"/>
        </pc:sldMkLst>
        <pc:spChg chg="mod">
          <ac:chgData name="O'Hagan. Sinead (Contractor - Ernst &amp; Young)" userId="37e0efa1-0107-4a6a-a201-5949a9329ddf" providerId="ADAL" clId="{1259E899-5549-420B-8E70-4B4871B784BD}" dt="2023-02-14T16:20:07.773" v="363" actId="13926"/>
          <ac:spMkLst>
            <pc:docMk/>
            <pc:sldMk cId="197788441" sldId="257307"/>
            <ac:spMk id="4" creationId="{41825E9A-DF3E-44B2-A2BB-5D3F04B1C432}"/>
          </ac:spMkLst>
        </pc:spChg>
      </pc:sldChg>
      <pc:sldChg chg="addSp delSp modSp mod">
        <pc:chgData name="O'Hagan. Sinead (Contractor - Ernst &amp; Young)" userId="37e0efa1-0107-4a6a-a201-5949a9329ddf" providerId="ADAL" clId="{1259E899-5549-420B-8E70-4B4871B784BD}" dt="2023-02-14T16:58:08.056" v="458" actId="1076"/>
        <pc:sldMkLst>
          <pc:docMk/>
          <pc:sldMk cId="869737009" sldId="257308"/>
        </pc:sldMkLst>
        <pc:spChg chg="mod">
          <ac:chgData name="O'Hagan. Sinead (Contractor - Ernst &amp; Young)" userId="37e0efa1-0107-4a6a-a201-5949a9329ddf" providerId="ADAL" clId="{1259E899-5549-420B-8E70-4B4871B784BD}" dt="2023-02-14T16:20:18.757" v="364" actId="13926"/>
          <ac:spMkLst>
            <pc:docMk/>
            <pc:sldMk cId="869737009" sldId="257308"/>
            <ac:spMk id="2" creationId="{C6DCFC3A-B2E8-4F48-8027-60CD710926B0}"/>
          </ac:spMkLst>
        </pc:spChg>
        <pc:spChg chg="mod">
          <ac:chgData name="O'Hagan. Sinead (Contractor - Ernst &amp; Young)" userId="37e0efa1-0107-4a6a-a201-5949a9329ddf" providerId="ADAL" clId="{1259E899-5549-420B-8E70-4B4871B784BD}" dt="2023-02-14T16:15:13.539" v="279" actId="14100"/>
          <ac:spMkLst>
            <pc:docMk/>
            <pc:sldMk cId="869737009" sldId="257308"/>
            <ac:spMk id="3" creationId="{4EA47BD0-A51A-4FC4-8E2C-1AD8AE0DEF64}"/>
          </ac:spMkLst>
        </pc:spChg>
        <pc:spChg chg="mod">
          <ac:chgData name="O'Hagan. Sinead (Contractor - Ernst &amp; Young)" userId="37e0efa1-0107-4a6a-a201-5949a9329ddf" providerId="ADAL" clId="{1259E899-5549-420B-8E70-4B4871B784BD}" dt="2023-02-14T16:18:18.115" v="347" actId="14100"/>
          <ac:spMkLst>
            <pc:docMk/>
            <pc:sldMk cId="869737009" sldId="257308"/>
            <ac:spMk id="8" creationId="{B6E6A53E-BC2D-4568-8D84-21FD4C028BC8}"/>
          </ac:spMkLst>
        </pc:spChg>
        <pc:spChg chg="mod">
          <ac:chgData name="O'Hagan. Sinead (Contractor - Ernst &amp; Young)" userId="37e0efa1-0107-4a6a-a201-5949a9329ddf" providerId="ADAL" clId="{1259E899-5549-420B-8E70-4B4871B784BD}" dt="2023-02-14T16:05:01.195" v="160" actId="14100"/>
          <ac:spMkLst>
            <pc:docMk/>
            <pc:sldMk cId="869737009" sldId="257308"/>
            <ac:spMk id="9" creationId="{EC1ABB2F-DE8D-4C9E-A89F-246E76BB68D2}"/>
          </ac:spMkLst>
        </pc:spChg>
        <pc:spChg chg="mod">
          <ac:chgData name="O'Hagan. Sinead (Contractor - Ernst &amp; Young)" userId="37e0efa1-0107-4a6a-a201-5949a9329ddf" providerId="ADAL" clId="{1259E899-5549-420B-8E70-4B4871B784BD}" dt="2023-02-14T16:05:19.874" v="165" actId="14100"/>
          <ac:spMkLst>
            <pc:docMk/>
            <pc:sldMk cId="869737009" sldId="257308"/>
            <ac:spMk id="10" creationId="{8122795E-C941-4509-B41C-30C9003612E5}"/>
          </ac:spMkLst>
        </pc:spChg>
        <pc:spChg chg="mod">
          <ac:chgData name="O'Hagan. Sinead (Contractor - Ernst &amp; Young)" userId="37e0efa1-0107-4a6a-a201-5949a9329ddf" providerId="ADAL" clId="{1259E899-5549-420B-8E70-4B4871B784BD}" dt="2023-02-14T16:57:55.036" v="455" actId="1076"/>
          <ac:spMkLst>
            <pc:docMk/>
            <pc:sldMk cId="869737009" sldId="257308"/>
            <ac:spMk id="11" creationId="{21D76DC2-1624-48F9-89BF-C18FC670CAD1}"/>
          </ac:spMkLst>
        </pc:spChg>
        <pc:spChg chg="mod">
          <ac:chgData name="O'Hagan. Sinead (Contractor - Ernst &amp; Young)" userId="37e0efa1-0107-4a6a-a201-5949a9329ddf" providerId="ADAL" clId="{1259E899-5549-420B-8E70-4B4871B784BD}" dt="2023-02-14T15:59:27.127" v="51" actId="20577"/>
          <ac:spMkLst>
            <pc:docMk/>
            <pc:sldMk cId="869737009" sldId="257308"/>
            <ac:spMk id="12" creationId="{BF197A6C-E43C-443B-999F-EAF9324CB1F8}"/>
          </ac:spMkLst>
        </pc:spChg>
        <pc:spChg chg="mod">
          <ac:chgData name="O'Hagan. Sinead (Contractor - Ernst &amp; Young)" userId="37e0efa1-0107-4a6a-a201-5949a9329ddf" providerId="ADAL" clId="{1259E899-5549-420B-8E70-4B4871B784BD}" dt="2023-02-14T16:15:02.005" v="277" actId="1037"/>
          <ac:spMkLst>
            <pc:docMk/>
            <pc:sldMk cId="869737009" sldId="257308"/>
            <ac:spMk id="13" creationId="{F4EADA55-5921-43D5-9A37-213C797E8360}"/>
          </ac:spMkLst>
        </pc:spChg>
        <pc:spChg chg="mod">
          <ac:chgData name="O'Hagan. Sinead (Contractor - Ernst &amp; Young)" userId="37e0efa1-0107-4a6a-a201-5949a9329ddf" providerId="ADAL" clId="{1259E899-5549-420B-8E70-4B4871B784BD}" dt="2023-02-14T16:18:22.695" v="351" actId="1036"/>
          <ac:spMkLst>
            <pc:docMk/>
            <pc:sldMk cId="869737009" sldId="257308"/>
            <ac:spMk id="14" creationId="{431F93A3-017E-48DB-B50E-3F3135447CE1}"/>
          </ac:spMkLst>
        </pc:spChg>
        <pc:spChg chg="mod">
          <ac:chgData name="O'Hagan. Sinead (Contractor - Ernst &amp; Young)" userId="37e0efa1-0107-4a6a-a201-5949a9329ddf" providerId="ADAL" clId="{1259E899-5549-420B-8E70-4B4871B784BD}" dt="2023-02-14T16:57:36.179" v="435" actId="1036"/>
          <ac:spMkLst>
            <pc:docMk/>
            <pc:sldMk cId="869737009" sldId="257308"/>
            <ac:spMk id="16" creationId="{8475ED51-6C7B-4E46-88EF-7B72BF48D90C}"/>
          </ac:spMkLst>
        </pc:spChg>
        <pc:spChg chg="mod">
          <ac:chgData name="O'Hagan. Sinead (Contractor - Ernst &amp; Young)" userId="37e0efa1-0107-4a6a-a201-5949a9329ddf" providerId="ADAL" clId="{1259E899-5549-420B-8E70-4B4871B784BD}" dt="2023-02-14T16:04:41.854" v="158" actId="1037"/>
          <ac:spMkLst>
            <pc:docMk/>
            <pc:sldMk cId="869737009" sldId="257308"/>
            <ac:spMk id="20" creationId="{F80F3DB1-E6EA-47EC-9371-949E0A1364CB}"/>
          </ac:spMkLst>
        </pc:spChg>
        <pc:spChg chg="mod">
          <ac:chgData name="O'Hagan. Sinead (Contractor - Ernst &amp; Young)" userId="37e0efa1-0107-4a6a-a201-5949a9329ddf" providerId="ADAL" clId="{1259E899-5549-420B-8E70-4B4871B784BD}" dt="2023-02-14T16:05:01.195" v="160" actId="14100"/>
          <ac:spMkLst>
            <pc:docMk/>
            <pc:sldMk cId="869737009" sldId="257308"/>
            <ac:spMk id="21" creationId="{36266BC1-5D64-49B8-916D-EBA950332EFD}"/>
          </ac:spMkLst>
        </pc:spChg>
        <pc:spChg chg="mod">
          <ac:chgData name="O'Hagan. Sinead (Contractor - Ernst &amp; Young)" userId="37e0efa1-0107-4a6a-a201-5949a9329ddf" providerId="ADAL" clId="{1259E899-5549-420B-8E70-4B4871B784BD}" dt="2023-02-14T16:04:41.854" v="158" actId="1037"/>
          <ac:spMkLst>
            <pc:docMk/>
            <pc:sldMk cId="869737009" sldId="257308"/>
            <ac:spMk id="22" creationId="{872B635B-6505-4B6F-85E7-9C86022B6C2D}"/>
          </ac:spMkLst>
        </pc:spChg>
        <pc:spChg chg="mod">
          <ac:chgData name="O'Hagan. Sinead (Contractor - Ernst &amp; Young)" userId="37e0efa1-0107-4a6a-a201-5949a9329ddf" providerId="ADAL" clId="{1259E899-5549-420B-8E70-4B4871B784BD}" dt="2023-02-14T16:04:41.854" v="158" actId="1037"/>
          <ac:spMkLst>
            <pc:docMk/>
            <pc:sldMk cId="869737009" sldId="257308"/>
            <ac:spMk id="23" creationId="{2363AFF5-8DE4-4847-B216-DB2982521510}"/>
          </ac:spMkLst>
        </pc:spChg>
        <pc:spChg chg="add mod">
          <ac:chgData name="O'Hagan. Sinead (Contractor - Ernst &amp; Young)" userId="37e0efa1-0107-4a6a-a201-5949a9329ddf" providerId="ADAL" clId="{1259E899-5549-420B-8E70-4B4871B784BD}" dt="2023-02-14T16:16:05.072" v="289" actId="1076"/>
          <ac:spMkLst>
            <pc:docMk/>
            <pc:sldMk cId="869737009" sldId="257308"/>
            <ac:spMk id="24" creationId="{CAA07EDB-4515-D59A-B1AC-6A4081C6A612}"/>
          </ac:spMkLst>
        </pc:spChg>
        <pc:spChg chg="add mod">
          <ac:chgData name="O'Hagan. Sinead (Contractor - Ernst &amp; Young)" userId="37e0efa1-0107-4a6a-a201-5949a9329ddf" providerId="ADAL" clId="{1259E899-5549-420B-8E70-4B4871B784BD}" dt="2023-02-14T16:16:05.072" v="289" actId="1076"/>
          <ac:spMkLst>
            <pc:docMk/>
            <pc:sldMk cId="869737009" sldId="257308"/>
            <ac:spMk id="25" creationId="{31A4A400-E4CE-CA36-22DB-79FEC90A9657}"/>
          </ac:spMkLst>
        </pc:spChg>
        <pc:spChg chg="mod">
          <ac:chgData name="O'Hagan. Sinead (Contractor - Ernst &amp; Young)" userId="37e0efa1-0107-4a6a-a201-5949a9329ddf" providerId="ADAL" clId="{1259E899-5549-420B-8E70-4B4871B784BD}" dt="2023-02-14T16:14:59.244" v="273" actId="1076"/>
          <ac:spMkLst>
            <pc:docMk/>
            <pc:sldMk cId="869737009" sldId="257308"/>
            <ac:spMk id="28" creationId="{16FF8F10-73B0-48A8-A38E-75A07C15763F}"/>
          </ac:spMkLst>
        </pc:spChg>
        <pc:spChg chg="mod">
          <ac:chgData name="O'Hagan. Sinead (Contractor - Ernst &amp; Young)" userId="37e0efa1-0107-4a6a-a201-5949a9329ddf" providerId="ADAL" clId="{1259E899-5549-420B-8E70-4B4871B784BD}" dt="2023-02-14T16:04:41.854" v="158" actId="1037"/>
          <ac:spMkLst>
            <pc:docMk/>
            <pc:sldMk cId="869737009" sldId="257308"/>
            <ac:spMk id="29" creationId="{EEC88EF4-5B46-40D5-B4DC-20C23D2FED71}"/>
          </ac:spMkLst>
        </pc:spChg>
        <pc:spChg chg="mod">
          <ac:chgData name="O'Hagan. Sinead (Contractor - Ernst &amp; Young)" userId="37e0efa1-0107-4a6a-a201-5949a9329ddf" providerId="ADAL" clId="{1259E899-5549-420B-8E70-4B4871B784BD}" dt="2023-02-14T16:04:41.854" v="158" actId="1037"/>
          <ac:spMkLst>
            <pc:docMk/>
            <pc:sldMk cId="869737009" sldId="257308"/>
            <ac:spMk id="33" creationId="{EC022AB5-9CFB-4EE3-82E6-63461757F051}"/>
          </ac:spMkLst>
        </pc:spChg>
        <pc:spChg chg="mod">
          <ac:chgData name="O'Hagan. Sinead (Contractor - Ernst &amp; Young)" userId="37e0efa1-0107-4a6a-a201-5949a9329ddf" providerId="ADAL" clId="{1259E899-5549-420B-8E70-4B4871B784BD}" dt="2023-02-14T16:57:51.574" v="454" actId="1035"/>
          <ac:spMkLst>
            <pc:docMk/>
            <pc:sldMk cId="869737009" sldId="257308"/>
            <ac:spMk id="34" creationId="{E38D18BD-D7ED-4B6F-902C-236278FA0753}"/>
          </ac:spMkLst>
        </pc:spChg>
        <pc:spChg chg="mod">
          <ac:chgData name="O'Hagan. Sinead (Contractor - Ernst &amp; Young)" userId="37e0efa1-0107-4a6a-a201-5949a9329ddf" providerId="ADAL" clId="{1259E899-5549-420B-8E70-4B4871B784BD}" dt="2023-02-14T16:58:00.711" v="456" actId="1076"/>
          <ac:spMkLst>
            <pc:docMk/>
            <pc:sldMk cId="869737009" sldId="257308"/>
            <ac:spMk id="35" creationId="{9996B0BC-533C-47F5-8CAE-9517D2E95023}"/>
          </ac:spMkLst>
        </pc:spChg>
        <pc:spChg chg="mod">
          <ac:chgData name="O'Hagan. Sinead (Contractor - Ernst &amp; Young)" userId="37e0efa1-0107-4a6a-a201-5949a9329ddf" providerId="ADAL" clId="{1259E899-5549-420B-8E70-4B4871B784BD}" dt="2023-02-14T16:04:41.854" v="158" actId="1037"/>
          <ac:spMkLst>
            <pc:docMk/>
            <pc:sldMk cId="869737009" sldId="257308"/>
            <ac:spMk id="36" creationId="{AFA9FCF3-2116-4DE8-A0CB-F287C1193141}"/>
          </ac:spMkLst>
        </pc:spChg>
        <pc:spChg chg="mod">
          <ac:chgData name="O'Hagan. Sinead (Contractor - Ernst &amp; Young)" userId="37e0efa1-0107-4a6a-a201-5949a9329ddf" providerId="ADAL" clId="{1259E899-5549-420B-8E70-4B4871B784BD}" dt="2023-02-14T16:57:42.416" v="437" actId="20577"/>
          <ac:spMkLst>
            <pc:docMk/>
            <pc:sldMk cId="869737009" sldId="257308"/>
            <ac:spMk id="37" creationId="{C5705680-0D67-4476-808D-279CDFB8AF39}"/>
          </ac:spMkLst>
        </pc:spChg>
        <pc:spChg chg="mod">
          <ac:chgData name="O'Hagan. Sinead (Contractor - Ernst &amp; Young)" userId="37e0efa1-0107-4a6a-a201-5949a9329ddf" providerId="ADAL" clId="{1259E899-5549-420B-8E70-4B4871B784BD}" dt="2023-02-14T16:57:49.192" v="445" actId="1076"/>
          <ac:spMkLst>
            <pc:docMk/>
            <pc:sldMk cId="869737009" sldId="257308"/>
            <ac:spMk id="38" creationId="{9C0ECC14-AFBE-4075-B946-271FD04905E8}"/>
          </ac:spMkLst>
        </pc:spChg>
        <pc:spChg chg="mod">
          <ac:chgData name="O'Hagan. Sinead (Contractor - Ernst &amp; Young)" userId="37e0efa1-0107-4a6a-a201-5949a9329ddf" providerId="ADAL" clId="{1259E899-5549-420B-8E70-4B4871B784BD}" dt="2023-02-14T16:58:08.056" v="458" actId="1076"/>
          <ac:spMkLst>
            <pc:docMk/>
            <pc:sldMk cId="869737009" sldId="257308"/>
            <ac:spMk id="39" creationId="{87DA2EFF-A58D-4A7C-8620-8E0B56467E26}"/>
          </ac:spMkLst>
        </pc:spChg>
        <pc:spChg chg="mod">
          <ac:chgData name="O'Hagan. Sinead (Contractor - Ernst &amp; Young)" userId="37e0efa1-0107-4a6a-a201-5949a9329ddf" providerId="ADAL" clId="{1259E899-5549-420B-8E70-4B4871B784BD}" dt="2023-02-14T16:18:26.437" v="354" actId="1036"/>
          <ac:spMkLst>
            <pc:docMk/>
            <pc:sldMk cId="869737009" sldId="257308"/>
            <ac:spMk id="40" creationId="{DB012CF6-598B-4F01-8974-8FCCCF89B5DC}"/>
          </ac:spMkLst>
        </pc:spChg>
        <pc:spChg chg="mod">
          <ac:chgData name="O'Hagan. Sinead (Contractor - Ernst &amp; Young)" userId="37e0efa1-0107-4a6a-a201-5949a9329ddf" providerId="ADAL" clId="{1259E899-5549-420B-8E70-4B4871B784BD}" dt="2023-02-14T16:16:16.790" v="292" actId="1076"/>
          <ac:spMkLst>
            <pc:docMk/>
            <pc:sldMk cId="869737009" sldId="257308"/>
            <ac:spMk id="42" creationId="{EB6F22E3-422E-4A1E-8FC3-B7DF5743931C}"/>
          </ac:spMkLst>
        </pc:spChg>
        <pc:spChg chg="mod">
          <ac:chgData name="O'Hagan. Sinead (Contractor - Ernst &amp; Young)" userId="37e0efa1-0107-4a6a-a201-5949a9329ddf" providerId="ADAL" clId="{1259E899-5549-420B-8E70-4B4871B784BD}" dt="2023-02-14T16:16:21.627" v="293" actId="1076"/>
          <ac:spMkLst>
            <pc:docMk/>
            <pc:sldMk cId="869737009" sldId="257308"/>
            <ac:spMk id="43" creationId="{939B50AA-BDF4-4932-960C-5A66A00B8A22}"/>
          </ac:spMkLst>
        </pc:spChg>
        <pc:spChg chg="mod">
          <ac:chgData name="O'Hagan. Sinead (Contractor - Ernst &amp; Young)" userId="37e0efa1-0107-4a6a-a201-5949a9329ddf" providerId="ADAL" clId="{1259E899-5549-420B-8E70-4B4871B784BD}" dt="2023-02-14T16:15:49.867" v="287" actId="1076"/>
          <ac:spMkLst>
            <pc:docMk/>
            <pc:sldMk cId="869737009" sldId="257308"/>
            <ac:spMk id="45" creationId="{4CD62EA2-37B0-4694-996A-4B1521E7A7F6}"/>
          </ac:spMkLst>
        </pc:spChg>
        <pc:spChg chg="mod">
          <ac:chgData name="O'Hagan. Sinead (Contractor - Ernst &amp; Young)" userId="37e0efa1-0107-4a6a-a201-5949a9329ddf" providerId="ADAL" clId="{1259E899-5549-420B-8E70-4B4871B784BD}" dt="2023-02-14T16:15:49.867" v="287" actId="1076"/>
          <ac:spMkLst>
            <pc:docMk/>
            <pc:sldMk cId="869737009" sldId="257308"/>
            <ac:spMk id="46" creationId="{8261ECB8-5DEC-45BF-A43A-33D9D441AB3D}"/>
          </ac:spMkLst>
        </pc:spChg>
        <pc:spChg chg="mod">
          <ac:chgData name="O'Hagan. Sinead (Contractor - Ernst &amp; Young)" userId="37e0efa1-0107-4a6a-a201-5949a9329ddf" providerId="ADAL" clId="{1259E899-5549-420B-8E70-4B4871B784BD}" dt="2023-02-14T16:18:26.437" v="354" actId="1036"/>
          <ac:spMkLst>
            <pc:docMk/>
            <pc:sldMk cId="869737009" sldId="257308"/>
            <ac:spMk id="47" creationId="{AE27ADDE-CE37-4006-A6D1-834767181482}"/>
          </ac:spMkLst>
        </pc:spChg>
        <pc:spChg chg="mod">
          <ac:chgData name="O'Hagan. Sinead (Contractor - Ernst &amp; Young)" userId="37e0efa1-0107-4a6a-a201-5949a9329ddf" providerId="ADAL" clId="{1259E899-5549-420B-8E70-4B4871B784BD}" dt="2023-02-14T16:14:42.263" v="258" actId="1038"/>
          <ac:spMkLst>
            <pc:docMk/>
            <pc:sldMk cId="869737009" sldId="257308"/>
            <ac:spMk id="49" creationId="{52299285-A618-49A4-B7CE-2DBC611635BD}"/>
          </ac:spMkLst>
        </pc:spChg>
        <pc:spChg chg="mod">
          <ac:chgData name="O'Hagan. Sinead (Contractor - Ernst &amp; Young)" userId="37e0efa1-0107-4a6a-a201-5949a9329ddf" providerId="ADAL" clId="{1259E899-5549-420B-8E70-4B4871B784BD}" dt="2023-02-14T16:14:42.263" v="258" actId="1038"/>
          <ac:spMkLst>
            <pc:docMk/>
            <pc:sldMk cId="869737009" sldId="257308"/>
            <ac:spMk id="50" creationId="{DEDC5969-CE60-4ABE-B404-992FA4B5D4B3}"/>
          </ac:spMkLst>
        </pc:spChg>
        <pc:spChg chg="mod">
          <ac:chgData name="O'Hagan. Sinead (Contractor - Ernst &amp; Young)" userId="37e0efa1-0107-4a6a-a201-5949a9329ddf" providerId="ADAL" clId="{1259E899-5549-420B-8E70-4B4871B784BD}" dt="2023-02-14T16:14:42.263" v="258" actId="1038"/>
          <ac:spMkLst>
            <pc:docMk/>
            <pc:sldMk cId="869737009" sldId="257308"/>
            <ac:spMk id="51" creationId="{EC397523-892F-463A-AFBE-79B854C95CBF}"/>
          </ac:spMkLst>
        </pc:spChg>
        <pc:spChg chg="mod">
          <ac:chgData name="O'Hagan. Sinead (Contractor - Ernst &amp; Young)" userId="37e0efa1-0107-4a6a-a201-5949a9329ddf" providerId="ADAL" clId="{1259E899-5549-420B-8E70-4B4871B784BD}" dt="2023-02-14T16:14:42.263" v="258" actId="1038"/>
          <ac:spMkLst>
            <pc:docMk/>
            <pc:sldMk cId="869737009" sldId="257308"/>
            <ac:spMk id="52" creationId="{0C2F4F46-9540-441E-AE7C-D91BB2A05802}"/>
          </ac:spMkLst>
        </pc:spChg>
        <pc:spChg chg="mod">
          <ac:chgData name="O'Hagan. Sinead (Contractor - Ernst &amp; Young)" userId="37e0efa1-0107-4a6a-a201-5949a9329ddf" providerId="ADAL" clId="{1259E899-5549-420B-8E70-4B4871B784BD}" dt="2023-02-14T16:14:42.263" v="258" actId="1038"/>
          <ac:spMkLst>
            <pc:docMk/>
            <pc:sldMk cId="869737009" sldId="257308"/>
            <ac:spMk id="53" creationId="{DA33DE6F-DE12-4038-80B8-CFE9FEEF6BD9}"/>
          </ac:spMkLst>
        </pc:spChg>
        <pc:spChg chg="mod">
          <ac:chgData name="O'Hagan. Sinead (Contractor - Ernst &amp; Young)" userId="37e0efa1-0107-4a6a-a201-5949a9329ddf" providerId="ADAL" clId="{1259E899-5549-420B-8E70-4B4871B784BD}" dt="2023-02-14T16:14:42.263" v="258" actId="1038"/>
          <ac:spMkLst>
            <pc:docMk/>
            <pc:sldMk cId="869737009" sldId="257308"/>
            <ac:spMk id="54" creationId="{C8669061-C2D6-446F-BED0-2F6529A03DDC}"/>
          </ac:spMkLst>
        </pc:spChg>
        <pc:spChg chg="mod">
          <ac:chgData name="O'Hagan. Sinead (Contractor - Ernst &amp; Young)" userId="37e0efa1-0107-4a6a-a201-5949a9329ddf" providerId="ADAL" clId="{1259E899-5549-420B-8E70-4B4871B784BD}" dt="2023-02-14T16:58:03.698" v="457" actId="1076"/>
          <ac:spMkLst>
            <pc:docMk/>
            <pc:sldMk cId="869737009" sldId="257308"/>
            <ac:spMk id="56" creationId="{D02C1019-5EB5-479C-A5E5-B02719F0E37D}"/>
          </ac:spMkLst>
        </pc:spChg>
        <pc:spChg chg="del">
          <ac:chgData name="O'Hagan. Sinead (Contractor - Ernst &amp; Young)" userId="37e0efa1-0107-4a6a-a201-5949a9329ddf" providerId="ADAL" clId="{1259E899-5549-420B-8E70-4B4871B784BD}" dt="2023-02-14T16:01:10.289" v="88" actId="478"/>
          <ac:spMkLst>
            <pc:docMk/>
            <pc:sldMk cId="869737009" sldId="257308"/>
            <ac:spMk id="58" creationId="{89C0EEB5-6F93-46F9-BA23-346D0E67B06F}"/>
          </ac:spMkLst>
        </pc:spChg>
        <pc:grpChg chg="mod">
          <ac:chgData name="O'Hagan. Sinead (Contractor - Ernst &amp; Young)" userId="37e0efa1-0107-4a6a-a201-5949a9329ddf" providerId="ADAL" clId="{1259E899-5549-420B-8E70-4B4871B784BD}" dt="2023-02-14T16:15:57.567" v="288" actId="1076"/>
          <ac:grpSpMkLst>
            <pc:docMk/>
            <pc:sldMk cId="869737009" sldId="257308"/>
            <ac:grpSpMk id="4" creationId="{2F9BAE89-2A14-4432-8826-56B468238900}"/>
          </ac:grpSpMkLst>
        </pc:grpChg>
        <pc:graphicFrameChg chg="mod">
          <ac:chgData name="O'Hagan. Sinead (Contractor - Ernst &amp; Young)" userId="37e0efa1-0107-4a6a-a201-5949a9329ddf" providerId="ADAL" clId="{1259E899-5549-420B-8E70-4B4871B784BD}" dt="2023-02-14T16:04:41.854" v="158" actId="1037"/>
          <ac:graphicFrameMkLst>
            <pc:docMk/>
            <pc:sldMk cId="869737009" sldId="257308"/>
            <ac:graphicFrameMk id="5" creationId="{6670DAB7-7CAE-4BEA-8DEA-221A5B41A1B8}"/>
          </ac:graphicFrameMkLst>
        </pc:graphicFrameChg>
        <pc:graphicFrameChg chg="add del mod modGraphic">
          <ac:chgData name="O'Hagan. Sinead (Contractor - Ernst &amp; Young)" userId="37e0efa1-0107-4a6a-a201-5949a9329ddf" providerId="ADAL" clId="{1259E899-5549-420B-8E70-4B4871B784BD}" dt="2023-02-14T16:01:48.379" v="92" actId="478"/>
          <ac:graphicFrameMkLst>
            <pc:docMk/>
            <pc:sldMk cId="869737009" sldId="257308"/>
            <ac:graphicFrameMk id="6" creationId="{2308C7B6-B83E-42A9-A39B-7B6889F70E71}"/>
          </ac:graphicFrameMkLst>
        </pc:graphicFrameChg>
        <pc:graphicFrameChg chg="mod modGraphic">
          <ac:chgData name="O'Hagan. Sinead (Contractor - Ernst &amp; Young)" userId="37e0efa1-0107-4a6a-a201-5949a9329ddf" providerId="ADAL" clId="{1259E899-5549-420B-8E70-4B4871B784BD}" dt="2023-02-14T16:04:41.854" v="158" actId="1037"/>
          <ac:graphicFrameMkLst>
            <pc:docMk/>
            <pc:sldMk cId="869737009" sldId="257308"/>
            <ac:graphicFrameMk id="7" creationId="{37062EB4-A15E-429A-A150-E35CC823BA50}"/>
          </ac:graphicFrameMkLst>
        </pc:graphicFrameChg>
      </pc:sldChg>
      <pc:sldChg chg="modSp add mod modShow">
        <pc:chgData name="O'Hagan. Sinead (Contractor - Ernst &amp; Young)" userId="37e0efa1-0107-4a6a-a201-5949a9329ddf" providerId="ADAL" clId="{1259E899-5549-420B-8E70-4B4871B784BD}" dt="2023-02-14T15:59:22.317" v="43" actId="1076"/>
        <pc:sldMkLst>
          <pc:docMk/>
          <pc:sldMk cId="2377924932" sldId="257309"/>
        </pc:sldMkLst>
        <pc:grpChg chg="mod">
          <ac:chgData name="O'Hagan. Sinead (Contractor - Ernst &amp; Young)" userId="37e0efa1-0107-4a6a-a201-5949a9329ddf" providerId="ADAL" clId="{1259E899-5549-420B-8E70-4B4871B784BD}" dt="2023-02-14T15:59:22.317" v="43" actId="1076"/>
          <ac:grpSpMkLst>
            <pc:docMk/>
            <pc:sldMk cId="2377924932" sldId="257309"/>
            <ac:grpSpMk id="4" creationId="{2F9BAE89-2A14-4432-8826-56B468238900}"/>
          </ac:grpSpMkLst>
        </pc:grpChg>
      </pc:sldChg>
      <pc:sldChg chg="add mod modShow">
        <pc:chgData name="O'Hagan. Sinead (Contractor - Ernst &amp; Young)" userId="37e0efa1-0107-4a6a-a201-5949a9329ddf" providerId="ADAL" clId="{1259E899-5549-420B-8E70-4B4871B784BD}" dt="2023-02-14T16:58:51.254" v="462" actId="729"/>
        <pc:sldMkLst>
          <pc:docMk/>
          <pc:sldMk cId="3004886038" sldId="257515"/>
        </pc:sldMkLst>
      </pc:sldChg>
      <pc:sldChg chg="add mod modShow">
        <pc:chgData name="O'Hagan. Sinead (Contractor - Ernst &amp; Young)" userId="37e0efa1-0107-4a6a-a201-5949a9329ddf" providerId="ADAL" clId="{1259E899-5549-420B-8E70-4B4871B784BD}" dt="2023-02-14T16:58:39.107" v="460" actId="729"/>
        <pc:sldMkLst>
          <pc:docMk/>
          <pc:sldMk cId="2401740898" sldId="257560"/>
        </pc:sldMkLst>
      </pc:sldChg>
    </pc:docChg>
  </pc:docChgLst>
  <pc:docChgLst>
    <pc:chgData name="Hassett. Rachel (Consultant - EY)" userId="S::consultant.rachel.hassett@esb.ie::b7d2e2b0-3019-4ec4-beb3-a42a62b65a21" providerId="AD" clId="Web-{2D514A00-FBA7-2D1A-11A6-CC8E5F54F8E1}"/>
    <pc:docChg chg="mod modSld">
      <pc:chgData name="Hassett. Rachel (Consultant - EY)" userId="S::consultant.rachel.hassett@esb.ie::b7d2e2b0-3019-4ec4-beb3-a42a62b65a21" providerId="AD" clId="Web-{2D514A00-FBA7-2D1A-11A6-CC8E5F54F8E1}" dt="2023-10-09T14:16:08.475" v="5"/>
      <pc:docMkLst>
        <pc:docMk/>
      </pc:docMkLst>
      <pc:sldChg chg="modSp addCm">
        <pc:chgData name="Hassett. Rachel (Consultant - EY)" userId="S::consultant.rachel.hassett@esb.ie::b7d2e2b0-3019-4ec4-beb3-a42a62b65a21" providerId="AD" clId="Web-{2D514A00-FBA7-2D1A-11A6-CC8E5F54F8E1}" dt="2023-10-09T14:16:08.475" v="5"/>
        <pc:sldMkLst>
          <pc:docMk/>
          <pc:sldMk cId="869737009" sldId="257308"/>
        </pc:sldMkLst>
        <pc:grpChg chg="mod">
          <ac:chgData name="Hassett. Rachel (Consultant - EY)" userId="S::consultant.rachel.hassett@esb.ie::b7d2e2b0-3019-4ec4-beb3-a42a62b65a21" providerId="AD" clId="Web-{2D514A00-FBA7-2D1A-11A6-CC8E5F54F8E1}" dt="2023-10-09T14:15:05.988" v="2" actId="1076"/>
          <ac:grpSpMkLst>
            <pc:docMk/>
            <pc:sldMk cId="869737009" sldId="257308"/>
            <ac:grpSpMk id="30" creationId="{7761D0AB-7D82-ED8E-56D5-50A3D77537BD}"/>
          </ac:grpSpMkLst>
        </pc:grpChg>
      </pc:sldChg>
    </pc:docChg>
  </pc:docChgLst>
  <pc:docChgLst>
    <pc:chgData name="Hassett. Rachel (Consultant - EY)" userId="S::consultant.rachel.hassett@esb.ie::b7d2e2b0-3019-4ec4-beb3-a42a62b65a21" providerId="AD" clId="Web-{117F6717-03C3-146D-CB48-28CCD1E14F62}"/>
    <pc:docChg chg="">
      <pc:chgData name="Hassett. Rachel (Consultant - EY)" userId="S::consultant.rachel.hassett@esb.ie::b7d2e2b0-3019-4ec4-beb3-a42a62b65a21" providerId="AD" clId="Web-{117F6717-03C3-146D-CB48-28CCD1E14F62}" dt="2024-02-29T14:46:45.879" v="0"/>
      <pc:docMkLst>
        <pc:docMk/>
      </pc:docMkLst>
      <pc:sldChg chg="modCm">
        <pc:chgData name="Hassett. Rachel (Consultant - EY)" userId="S::consultant.rachel.hassett@esb.ie::b7d2e2b0-3019-4ec4-beb3-a42a62b65a21" providerId="AD" clId="Web-{117F6717-03C3-146D-CB48-28CCD1E14F62}" dt="2024-02-29T14:46:45.879" v="0"/>
        <pc:sldMkLst>
          <pc:docMk/>
          <pc:sldMk cId="2445383505" sldId="257310"/>
        </pc:sldMkLst>
        <pc:extLst>
          <p:ext xmlns:p="http://schemas.openxmlformats.org/presentationml/2006/main" uri="{D6D511B9-2390-475A-947B-AFAB55BFBCF1}">
            <pc226:cmChg xmlns:pc226="http://schemas.microsoft.com/office/powerpoint/2022/06/main/command" chg="">
              <pc226:chgData name="Hassett. Rachel (Consultant - EY)" userId="S::consultant.rachel.hassett@esb.ie::b7d2e2b0-3019-4ec4-beb3-a42a62b65a21" providerId="AD" clId="Web-{117F6717-03C3-146D-CB48-28CCD1E14F62}" dt="2024-02-29T14:46:45.879" v="0"/>
              <pc2:cmMkLst xmlns:pc2="http://schemas.microsoft.com/office/powerpoint/2019/9/main/command">
                <pc:docMk/>
                <pc:sldMk cId="2445383505" sldId="257310"/>
                <pc2:cmMk id="{AEE34034-3DBD-4B5C-89E9-39B9EBE3BFFE}"/>
              </pc2:cmMkLst>
              <pc226:cmRplyChg chg="add">
                <pc226:chgData name="Hassett. Rachel (Consultant - EY)" userId="S::consultant.rachel.hassett@esb.ie::b7d2e2b0-3019-4ec4-beb3-a42a62b65a21" providerId="AD" clId="Web-{117F6717-03C3-146D-CB48-28CCD1E14F62}" dt="2024-02-29T14:46:45.879" v="0"/>
                <pc2:cmRplyMkLst xmlns:pc2="http://schemas.microsoft.com/office/powerpoint/2019/9/main/command">
                  <pc:docMk/>
                  <pc:sldMk cId="2445383505" sldId="257310"/>
                  <pc2:cmMk id="{AEE34034-3DBD-4B5C-89E9-39B9EBE3BFFE}"/>
                  <pc2:cmRplyMk id="{E5CAB1A8-C9A1-405E-A1F2-943A009C794D}"/>
                </pc2:cmRplyMkLst>
              </pc226:cmRplyChg>
            </pc226:cmChg>
          </p:ext>
        </pc:extLst>
      </pc:sldChg>
    </pc:docChg>
  </pc:docChgLst>
  <pc:docChgLst>
    <pc:chgData name="Duffy. Orla (Enterprise Services)" userId="c1acae2b-554a-40f5-b519-be38fcd739f2" providerId="ADAL" clId="{818D0D9C-DEFC-4F96-984E-D008E9FC034E}"/>
    <pc:docChg chg="undo custSel modSld">
      <pc:chgData name="Duffy. Orla (Enterprise Services)" userId="c1acae2b-554a-40f5-b519-be38fcd739f2" providerId="ADAL" clId="{818D0D9C-DEFC-4F96-984E-D008E9FC034E}" dt="2022-06-01T10:33:19.794" v="4" actId="20577"/>
      <pc:docMkLst>
        <pc:docMk/>
      </pc:docMkLst>
      <pc:sldChg chg="modSp mod">
        <pc:chgData name="Duffy. Orla (Enterprise Services)" userId="c1acae2b-554a-40f5-b519-be38fcd739f2" providerId="ADAL" clId="{818D0D9C-DEFC-4F96-984E-D008E9FC034E}" dt="2022-06-01T10:33:19.794" v="4" actId="20577"/>
        <pc:sldMkLst>
          <pc:docMk/>
          <pc:sldMk cId="2678521947" sldId="257306"/>
        </pc:sldMkLst>
        <pc:spChg chg="mod">
          <ac:chgData name="Duffy. Orla (Enterprise Services)" userId="c1acae2b-554a-40f5-b519-be38fcd739f2" providerId="ADAL" clId="{818D0D9C-DEFC-4F96-984E-D008E9FC034E}" dt="2022-06-01T10:33:19.794" v="4" actId="20577"/>
          <ac:spMkLst>
            <pc:docMk/>
            <pc:sldMk cId="2678521947" sldId="257306"/>
            <ac:spMk id="4" creationId="{41825E9A-DF3E-44B2-A2BB-5D3F04B1C432}"/>
          </ac:spMkLst>
        </pc:spChg>
      </pc:sldChg>
    </pc:docChg>
  </pc:docChgLst>
  <pc:docChgLst>
    <pc:chgData name="Power. Damien (Contractor - EY)" userId="a1f4b3c0-1096-4948-b5f9-75b086acdda0" providerId="ADAL" clId="{7901662E-17D2-4BC6-90A6-05259E7D6CE7}"/>
    <pc:docChg chg="">
      <pc:chgData name="Power. Damien (Contractor - EY)" userId="a1f4b3c0-1096-4948-b5f9-75b086acdda0" providerId="ADAL" clId="{7901662E-17D2-4BC6-90A6-05259E7D6CE7}" dt="2023-10-23T08:34:12.082" v="4"/>
      <pc:docMkLst>
        <pc:docMk/>
      </pc:docMkLst>
      <pc:sldChg chg="delCm">
        <pc:chgData name="Power. Damien (Contractor - EY)" userId="a1f4b3c0-1096-4948-b5f9-75b086acdda0" providerId="ADAL" clId="{7901662E-17D2-4BC6-90A6-05259E7D6CE7}" dt="2023-10-23T08:34:01.028" v="1"/>
        <pc:sldMkLst>
          <pc:docMk/>
          <pc:sldMk cId="2678521947" sldId="257306"/>
        </pc:sldMkLst>
      </pc:sldChg>
      <pc:sldChg chg="delCm">
        <pc:chgData name="Power. Damien (Contractor - EY)" userId="a1f4b3c0-1096-4948-b5f9-75b086acdda0" providerId="ADAL" clId="{7901662E-17D2-4BC6-90A6-05259E7D6CE7}" dt="2023-10-23T08:34:05.810" v="2"/>
        <pc:sldMkLst>
          <pc:docMk/>
          <pc:sldMk cId="197788441" sldId="257307"/>
        </pc:sldMkLst>
      </pc:sldChg>
      <pc:sldChg chg="delCm">
        <pc:chgData name="Power. Damien (Contractor - EY)" userId="a1f4b3c0-1096-4948-b5f9-75b086acdda0" providerId="ADAL" clId="{7901662E-17D2-4BC6-90A6-05259E7D6CE7}" dt="2023-10-23T08:34:12.082" v="4"/>
        <pc:sldMkLst>
          <pc:docMk/>
          <pc:sldMk cId="869737009" sldId="257308"/>
        </pc:sldMkLst>
      </pc:sldChg>
    </pc:docChg>
  </pc:docChgLst>
  <pc:docChgLst>
    <pc:chgData name="Power. Damien (Contractor - EY)" userId="a1f4b3c0-1096-4948-b5f9-75b086acdda0" providerId="ADAL" clId="{B06CD8E7-DF0C-4998-98EA-79FF873F4519}"/>
    <pc:docChg chg="modSld">
      <pc:chgData name="Power. Damien (Contractor - EY)" userId="a1f4b3c0-1096-4948-b5f9-75b086acdda0" providerId="ADAL" clId="{B06CD8E7-DF0C-4998-98EA-79FF873F4519}" dt="2024-01-26T12:13:38.666" v="82" actId="20577"/>
      <pc:docMkLst>
        <pc:docMk/>
      </pc:docMkLst>
      <pc:sldChg chg="modSp mod">
        <pc:chgData name="Power. Damien (Contractor - EY)" userId="a1f4b3c0-1096-4948-b5f9-75b086acdda0" providerId="ADAL" clId="{B06CD8E7-DF0C-4998-98EA-79FF873F4519}" dt="2024-01-26T12:12:54.392" v="80" actId="20577"/>
        <pc:sldMkLst>
          <pc:docMk/>
          <pc:sldMk cId="4083202202" sldId="1263"/>
        </pc:sldMkLst>
        <pc:spChg chg="mod">
          <ac:chgData name="Power. Damien (Contractor - EY)" userId="a1f4b3c0-1096-4948-b5f9-75b086acdda0" providerId="ADAL" clId="{B06CD8E7-DF0C-4998-98EA-79FF873F4519}" dt="2024-01-26T12:12:54.392" v="80" actId="20577"/>
          <ac:spMkLst>
            <pc:docMk/>
            <pc:sldMk cId="4083202202" sldId="1263"/>
            <ac:spMk id="4" creationId="{18A7FD6C-669C-49E2-8A61-FFF2CD66CFFE}"/>
          </ac:spMkLst>
        </pc:spChg>
        <pc:spChg chg="mod">
          <ac:chgData name="Power. Damien (Contractor - EY)" userId="a1f4b3c0-1096-4948-b5f9-75b086acdda0" providerId="ADAL" clId="{B06CD8E7-DF0C-4998-98EA-79FF873F4519}" dt="2024-01-26T12:12:51.806" v="78" actId="20577"/>
          <ac:spMkLst>
            <pc:docMk/>
            <pc:sldMk cId="4083202202" sldId="1263"/>
            <ac:spMk id="7" creationId="{A2A8F692-D027-40EA-BAA7-5DBCE4BB831E}"/>
          </ac:spMkLst>
        </pc:spChg>
      </pc:sldChg>
      <pc:sldChg chg="modSp mod">
        <pc:chgData name="Power. Damien (Contractor - EY)" userId="a1f4b3c0-1096-4948-b5f9-75b086acdda0" providerId="ADAL" clId="{B06CD8E7-DF0C-4998-98EA-79FF873F4519}" dt="2024-01-26T12:13:38.666" v="82" actId="20577"/>
        <pc:sldMkLst>
          <pc:docMk/>
          <pc:sldMk cId="2678521947" sldId="257306"/>
        </pc:sldMkLst>
        <pc:spChg chg="mod">
          <ac:chgData name="Power. Damien (Contractor - EY)" userId="a1f4b3c0-1096-4948-b5f9-75b086acdda0" providerId="ADAL" clId="{B06CD8E7-DF0C-4998-98EA-79FF873F4519}" dt="2024-01-26T12:13:38.666" v="82" actId="20577"/>
          <ac:spMkLst>
            <pc:docMk/>
            <pc:sldMk cId="2678521947" sldId="257306"/>
            <ac:spMk id="4" creationId="{41825E9A-DF3E-44B2-A2BB-5D3F04B1C432}"/>
          </ac:spMkLst>
        </pc:spChg>
      </pc:sldChg>
      <pc:sldChg chg="modSp mod">
        <pc:chgData name="Power. Damien (Contractor - EY)" userId="a1f4b3c0-1096-4948-b5f9-75b086acdda0" providerId="ADAL" clId="{B06CD8E7-DF0C-4998-98EA-79FF873F4519}" dt="2024-01-26T11:23:47.528" v="71" actId="20577"/>
        <pc:sldMkLst>
          <pc:docMk/>
          <pc:sldMk cId="869737009" sldId="257308"/>
        </pc:sldMkLst>
        <pc:spChg chg="mod">
          <ac:chgData name="Power. Damien (Contractor - EY)" userId="a1f4b3c0-1096-4948-b5f9-75b086acdda0" providerId="ADAL" clId="{B06CD8E7-DF0C-4998-98EA-79FF873F4519}" dt="2024-01-26T11:23:21.188" v="70" actId="20577"/>
          <ac:spMkLst>
            <pc:docMk/>
            <pc:sldMk cId="869737009" sldId="257308"/>
            <ac:spMk id="12" creationId="{BF197A6C-E43C-443B-999F-EAF9324CB1F8}"/>
          </ac:spMkLst>
        </pc:spChg>
        <pc:spChg chg="mod">
          <ac:chgData name="Power. Damien (Contractor - EY)" userId="a1f4b3c0-1096-4948-b5f9-75b086acdda0" providerId="ADAL" clId="{B06CD8E7-DF0C-4998-98EA-79FF873F4519}" dt="2024-01-26T11:23:47.528" v="71" actId="20577"/>
          <ac:spMkLst>
            <pc:docMk/>
            <pc:sldMk cId="869737009" sldId="257308"/>
            <ac:spMk id="14" creationId="{431F93A3-017E-48DB-B50E-3F3135447CE1}"/>
          </ac:spMkLst>
        </pc:spChg>
        <pc:grpChg chg="mod">
          <ac:chgData name="Power. Damien (Contractor - EY)" userId="a1f4b3c0-1096-4948-b5f9-75b086acdda0" providerId="ADAL" clId="{B06CD8E7-DF0C-4998-98EA-79FF873F4519}" dt="2024-01-26T11:23:15.182" v="63" actId="1038"/>
          <ac:grpSpMkLst>
            <pc:docMk/>
            <pc:sldMk cId="869737009" sldId="257308"/>
            <ac:grpSpMk id="4" creationId="{2F9BAE89-2A14-4432-8826-56B468238900}"/>
          </ac:grpSpMkLst>
        </pc:grpChg>
      </pc:sldChg>
    </pc:docChg>
  </pc:docChgLst>
  <pc:docChgLst>
    <pc:chgData name="Power. Damien (Contractor - EY)" userId="S::contractor.damien.power@esb.ie::a1f4b3c0-1096-4948-b5f9-75b086acdda0" providerId="AD" clId="Web-{8C46F863-2E0B-3F98-BF4D-252EF46F9BD9}"/>
    <pc:docChg chg="">
      <pc:chgData name="Power. Damien (Contractor - EY)" userId="S::contractor.damien.power@esb.ie::a1f4b3c0-1096-4948-b5f9-75b086acdda0" providerId="AD" clId="Web-{8C46F863-2E0B-3F98-BF4D-252EF46F9BD9}" dt="2024-02-29T14:37:51.536" v="0"/>
      <pc:docMkLst>
        <pc:docMk/>
      </pc:docMkLst>
      <pc:sldChg chg="modCm">
        <pc:chgData name="Power. Damien (Contractor - EY)" userId="S::contractor.damien.power@esb.ie::a1f4b3c0-1096-4948-b5f9-75b086acdda0" providerId="AD" clId="Web-{8C46F863-2E0B-3F98-BF4D-252EF46F9BD9}" dt="2024-02-29T14:37:51.536" v="0"/>
        <pc:sldMkLst>
          <pc:docMk/>
          <pc:sldMk cId="2445383505" sldId="257310"/>
        </pc:sldMkLst>
        <pc:extLst>
          <p:ext xmlns:p="http://schemas.openxmlformats.org/presentationml/2006/main" uri="{D6D511B9-2390-475A-947B-AFAB55BFBCF1}">
            <pc226:cmChg xmlns:pc226="http://schemas.microsoft.com/office/powerpoint/2022/06/main/command" chg="">
              <pc226:chgData name="Power. Damien (Contractor - EY)" userId="S::contractor.damien.power@esb.ie::a1f4b3c0-1096-4948-b5f9-75b086acdda0" providerId="AD" clId="Web-{8C46F863-2E0B-3F98-BF4D-252EF46F9BD9}" dt="2024-02-29T14:37:51.536" v="0"/>
              <pc2:cmMkLst xmlns:pc2="http://schemas.microsoft.com/office/powerpoint/2019/9/main/command">
                <pc:docMk/>
                <pc:sldMk cId="2445383505" sldId="257310"/>
                <pc2:cmMk id="{AEE34034-3DBD-4B5C-89E9-39B9EBE3BFFE}"/>
              </pc2:cmMkLst>
              <pc226:cmRplyChg chg="add">
                <pc226:chgData name="Power. Damien (Contractor - EY)" userId="S::contractor.damien.power@esb.ie::a1f4b3c0-1096-4948-b5f9-75b086acdda0" providerId="AD" clId="Web-{8C46F863-2E0B-3F98-BF4D-252EF46F9BD9}" dt="2024-02-29T14:37:51.536" v="0"/>
                <pc2:cmRplyMkLst xmlns:pc2="http://schemas.microsoft.com/office/powerpoint/2019/9/main/command">
                  <pc:docMk/>
                  <pc:sldMk cId="2445383505" sldId="257310"/>
                  <pc2:cmMk id="{AEE34034-3DBD-4B5C-89E9-39B9EBE3BFFE}"/>
                  <pc2:cmRplyMk id="{55FCF1E9-35C4-42CD-8F01-D8CDFE861B6D}"/>
                </pc2:cmRplyMkLst>
              </pc226:cmRplyChg>
            </pc226:cmChg>
          </p:ext>
        </pc:extLst>
      </pc:sldChg>
    </pc:docChg>
  </pc:docChgLst>
  <pc:docChgLst>
    <pc:chgData name="Hassett. Rachel (Consultant - EY)" userId="S::consultant.rachel.hassett@esb.ie::b7d2e2b0-3019-4ec4-beb3-a42a62b65a21" providerId="AD" clId="Web-{64CFAD71-E0AC-EAD1-9663-16452E4C365C}"/>
    <pc:docChg chg="">
      <pc:chgData name="Hassett. Rachel (Consultant - EY)" userId="S::consultant.rachel.hassett@esb.ie::b7d2e2b0-3019-4ec4-beb3-a42a62b65a21" providerId="AD" clId="Web-{64CFAD71-E0AC-EAD1-9663-16452E4C365C}" dt="2024-02-22T16:54:25.864" v="0"/>
      <pc:docMkLst>
        <pc:docMk/>
      </pc:docMkLst>
      <pc:sldChg chg="modCm">
        <pc:chgData name="Hassett. Rachel (Consultant - EY)" userId="S::consultant.rachel.hassett@esb.ie::b7d2e2b0-3019-4ec4-beb3-a42a62b65a21" providerId="AD" clId="Web-{64CFAD71-E0AC-EAD1-9663-16452E4C365C}" dt="2024-02-22T16:54:25.864" v="0"/>
        <pc:sldMkLst>
          <pc:docMk/>
          <pc:sldMk cId="3704071719" sldId="257309"/>
        </pc:sldMkLst>
      </pc:sldChg>
    </pc:docChg>
  </pc:docChgLst>
  <pc:docChgLst>
    <pc:chgData name="Power. Damien (Contractor - EY)" userId="a1f4b3c0-1096-4948-b5f9-75b086acdda0" providerId="ADAL" clId="{D9549B8A-A86E-4871-9A00-779A176DF495}"/>
    <pc:docChg chg="">
      <pc:chgData name="Power. Damien (Contractor - EY)" userId="a1f4b3c0-1096-4948-b5f9-75b086acdda0" providerId="ADAL" clId="{D9549B8A-A86E-4871-9A00-779A176DF495}" dt="2024-02-26T12:33:30.806" v="2"/>
      <pc:docMkLst>
        <pc:docMk/>
      </pc:docMkLst>
      <pc:sldChg chg="modCm">
        <pc:chgData name="Power. Damien (Contractor - EY)" userId="a1f4b3c0-1096-4948-b5f9-75b086acdda0" providerId="ADAL" clId="{D9549B8A-A86E-4871-9A00-779A176DF495}" dt="2024-02-26T12:33:08.176" v="0"/>
        <pc:sldMkLst>
          <pc:docMk/>
          <pc:sldMk cId="2678521947" sldId="257306"/>
        </pc:sldMkLst>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D9549B8A-A86E-4871-9A00-779A176DF495}" dt="2024-02-26T12:33:08.176" v="0"/>
              <pc2:cmMkLst xmlns:pc2="http://schemas.microsoft.com/office/powerpoint/2019/9/main/command">
                <pc:docMk/>
                <pc:sldMk cId="2678521947" sldId="257306"/>
                <pc2:cmMk id="{B63F1A7B-FFD7-4BFA-8F44-E30B56AADC2E}"/>
              </pc2:cmMkLst>
            </pc226:cmChg>
          </p:ext>
        </pc:extLst>
      </pc:sldChg>
      <pc:sldChg chg="modCm">
        <pc:chgData name="Power. Damien (Contractor - EY)" userId="a1f4b3c0-1096-4948-b5f9-75b086acdda0" providerId="ADAL" clId="{D9549B8A-A86E-4871-9A00-779A176DF495}" dt="2024-02-26T12:33:23.130" v="1"/>
        <pc:sldMkLst>
          <pc:docMk/>
          <pc:sldMk cId="869737009" sldId="257308"/>
        </pc:sldMkLst>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D9549B8A-A86E-4871-9A00-779A176DF495}" dt="2024-02-26T12:33:23.130" v="1"/>
              <pc2:cmMkLst xmlns:pc2="http://schemas.microsoft.com/office/powerpoint/2019/9/main/command">
                <pc:docMk/>
                <pc:sldMk cId="869737009" sldId="257308"/>
                <pc2:cmMk id="{E206F896-3481-4C02-AE6A-D34D09CEF243}"/>
              </pc2:cmMkLst>
            </pc226:cmChg>
          </p:ext>
        </pc:extLst>
      </pc:sldChg>
      <pc:sldChg chg="modCm">
        <pc:chgData name="Power. Damien (Contractor - EY)" userId="a1f4b3c0-1096-4948-b5f9-75b086acdda0" providerId="ADAL" clId="{D9549B8A-A86E-4871-9A00-779A176DF495}" dt="2024-02-26T12:33:30.806" v="2"/>
        <pc:sldMkLst>
          <pc:docMk/>
          <pc:sldMk cId="3704071719" sldId="257309"/>
        </pc:sldMkLst>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D9549B8A-A86E-4871-9A00-779A176DF495}" dt="2024-02-26T12:33:30.806" v="2"/>
              <pc2:cmMkLst xmlns:pc2="http://schemas.microsoft.com/office/powerpoint/2019/9/main/command">
                <pc:docMk/>
                <pc:sldMk cId="3704071719" sldId="257309"/>
                <pc2:cmMk id="{1156D1F7-17FE-49CF-BBFF-785B6F9170F7}"/>
              </pc2:cmMkLst>
            </pc226:cmChg>
          </p:ext>
        </pc:extLst>
      </pc:sldChg>
    </pc:docChg>
  </pc:docChgLst>
  <pc:docChgLst>
    <pc:chgData name="Corcoran. Emer (ESB Networks)" userId="S::emer.corcoran@esb.ie::be6c6ed3-1caa-45fc-aff4-32e0fc3d4911" providerId="AD" clId="Web-{D668D4B2-33E1-C1D6-20F8-2201DF93CE0B}"/>
    <pc:docChg chg="">
      <pc:chgData name="Corcoran. Emer (ESB Networks)" userId="S::emer.corcoran@esb.ie::be6c6ed3-1caa-45fc-aff4-32e0fc3d4911" providerId="AD" clId="Web-{D668D4B2-33E1-C1D6-20F8-2201DF93CE0B}" dt="2024-02-29T12:38:55.418" v="0"/>
      <pc:docMkLst>
        <pc:docMk/>
      </pc:docMkLst>
      <pc:sldChg chg="modCm">
        <pc:chgData name="Corcoran. Emer (ESB Networks)" userId="S::emer.corcoran@esb.ie::be6c6ed3-1caa-45fc-aff4-32e0fc3d4911" providerId="AD" clId="Web-{D668D4B2-33E1-C1D6-20F8-2201DF93CE0B}" dt="2024-02-29T12:38:55.418" v="0"/>
        <pc:sldMkLst>
          <pc:docMk/>
          <pc:sldMk cId="197788441" sldId="257307"/>
        </pc:sldMkLst>
        <pc:extLst>
          <p:ext xmlns:p="http://schemas.openxmlformats.org/presentationml/2006/main" uri="{D6D511B9-2390-475A-947B-AFAB55BFBCF1}">
            <pc226:cmChg xmlns:pc226="http://schemas.microsoft.com/office/powerpoint/2022/06/main/command" chg="">
              <pc226:chgData name="Corcoran. Emer (ESB Networks)" userId="S::emer.corcoran@esb.ie::be6c6ed3-1caa-45fc-aff4-32e0fc3d4911" providerId="AD" clId="Web-{D668D4B2-33E1-C1D6-20F8-2201DF93CE0B}" dt="2024-02-29T12:38:55.418" v="0"/>
              <pc2:cmMkLst xmlns:pc2="http://schemas.microsoft.com/office/powerpoint/2019/9/main/command">
                <pc:docMk/>
                <pc:sldMk cId="197788441" sldId="257307"/>
                <pc2:cmMk id="{DE7F0380-854F-4F32-B887-8C2F2632E89A}"/>
              </pc2:cmMkLst>
              <pc226:cmRplyChg chg="add">
                <pc226:chgData name="Corcoran. Emer (ESB Networks)" userId="S::emer.corcoran@esb.ie::be6c6ed3-1caa-45fc-aff4-32e0fc3d4911" providerId="AD" clId="Web-{D668D4B2-33E1-C1D6-20F8-2201DF93CE0B}" dt="2024-02-29T12:38:55.418" v="0"/>
                <pc2:cmRplyMkLst xmlns:pc2="http://schemas.microsoft.com/office/powerpoint/2019/9/main/command">
                  <pc:docMk/>
                  <pc:sldMk cId="197788441" sldId="257307"/>
                  <pc2:cmMk id="{DE7F0380-854F-4F32-B887-8C2F2632E89A}"/>
                  <pc2:cmRplyMk id="{8CCE64A0-B65D-4FF1-8DA5-3E968581BDE7}"/>
                </pc2:cmRplyMkLst>
              </pc226:cmRplyChg>
            </pc226:cmChg>
          </p:ext>
        </pc:extLst>
      </pc:sldChg>
    </pc:docChg>
  </pc:docChgLst>
  <pc:docChgLst>
    <pc:chgData name="O'Hagan. Sinead (Contractor - Ernst &amp; Young)" userId="37e0efa1-0107-4a6a-a201-5949a9329ddf" providerId="ADAL" clId="{3ADE9116-22D1-474A-AC45-3EDED611797C}"/>
    <pc:docChg chg="modSld">
      <pc:chgData name="O'Hagan. Sinead (Contractor - Ernst &amp; Young)" userId="37e0efa1-0107-4a6a-a201-5949a9329ddf" providerId="ADAL" clId="{3ADE9116-22D1-474A-AC45-3EDED611797C}" dt="2022-06-22T11:52:56.477" v="12" actId="1037"/>
      <pc:docMkLst>
        <pc:docMk/>
      </pc:docMkLst>
      <pc:sldChg chg="addSp modSp mod">
        <pc:chgData name="O'Hagan. Sinead (Contractor - Ernst &amp; Young)" userId="37e0efa1-0107-4a6a-a201-5949a9329ddf" providerId="ADAL" clId="{3ADE9116-22D1-474A-AC45-3EDED611797C}" dt="2022-06-22T11:52:56.477" v="12" actId="1037"/>
        <pc:sldMkLst>
          <pc:docMk/>
          <pc:sldMk cId="869737009" sldId="257308"/>
        </pc:sldMkLst>
        <pc:spChg chg="mod">
          <ac:chgData name="O'Hagan. Sinead (Contractor - Ernst &amp; Young)" userId="37e0efa1-0107-4a6a-a201-5949a9329ddf" providerId="ADAL" clId="{3ADE9116-22D1-474A-AC45-3EDED611797C}" dt="2022-06-22T11:52:36.181" v="9" actId="1038"/>
          <ac:spMkLst>
            <pc:docMk/>
            <pc:sldMk cId="869737009" sldId="257308"/>
            <ac:spMk id="8" creationId="{B6E6A53E-BC2D-4568-8D84-21FD4C028BC8}"/>
          </ac:spMkLst>
        </pc:spChg>
        <pc:spChg chg="mod">
          <ac:chgData name="O'Hagan. Sinead (Contractor - Ernst &amp; Young)" userId="37e0efa1-0107-4a6a-a201-5949a9329ddf" providerId="ADAL" clId="{3ADE9116-22D1-474A-AC45-3EDED611797C}" dt="2022-06-22T11:52:56.477" v="12" actId="1037"/>
          <ac:spMkLst>
            <pc:docMk/>
            <pc:sldMk cId="869737009" sldId="257308"/>
            <ac:spMk id="9" creationId="{EC1ABB2F-DE8D-4C9E-A89F-246E76BB68D2}"/>
          </ac:spMkLst>
        </pc:spChg>
        <pc:spChg chg="mod">
          <ac:chgData name="O'Hagan. Sinead (Contractor - Ernst &amp; Young)" userId="37e0efa1-0107-4a6a-a201-5949a9329ddf" providerId="ADAL" clId="{3ADE9116-22D1-474A-AC45-3EDED611797C}" dt="2022-06-22T11:52:53.876" v="11" actId="1037"/>
          <ac:spMkLst>
            <pc:docMk/>
            <pc:sldMk cId="869737009" sldId="257308"/>
            <ac:spMk id="14" creationId="{431F93A3-017E-48DB-B50E-3F3135447CE1}"/>
          </ac:spMkLst>
        </pc:spChg>
        <pc:spChg chg="add mod">
          <ac:chgData name="O'Hagan. Sinead (Contractor - Ernst &amp; Young)" userId="37e0efa1-0107-4a6a-a201-5949a9329ddf" providerId="ADAL" clId="{3ADE9116-22D1-474A-AC45-3EDED611797C}" dt="2022-06-22T11:52:20.314" v="8" actId="1076"/>
          <ac:spMkLst>
            <pc:docMk/>
            <pc:sldMk cId="869737009" sldId="257308"/>
            <ac:spMk id="58" creationId="{0082E4CD-8DD9-4C8F-831A-76FE9B24E97C}"/>
          </ac:spMkLst>
        </pc:spChg>
      </pc:sldChg>
    </pc:docChg>
  </pc:docChgLst>
  <pc:docChgLst>
    <pc:chgData name="Corcoran. Emer (ESB Networks)" userId="S::emer.corcoran@esb.ie::be6c6ed3-1caa-45fc-aff4-32e0fc3d4911" providerId="AD" clId="Web-{D9EDEBE5-4587-A91E-9238-E8A31930B913}"/>
    <pc:docChg chg="modSld">
      <pc:chgData name="Corcoran. Emer (ESB Networks)" userId="S::emer.corcoran@esb.ie::be6c6ed3-1caa-45fc-aff4-32e0fc3d4911" providerId="AD" clId="Web-{D9EDEBE5-4587-A91E-9238-E8A31930B913}" dt="2024-02-22T16:12:40.927" v="4"/>
      <pc:docMkLst>
        <pc:docMk/>
      </pc:docMkLst>
      <pc:sldChg chg="modCm">
        <pc:chgData name="Corcoran. Emer (ESB Networks)" userId="S::emer.corcoran@esb.ie::be6c6ed3-1caa-45fc-aff4-32e0fc3d4911" providerId="AD" clId="Web-{D9EDEBE5-4587-A91E-9238-E8A31930B913}" dt="2024-02-22T16:10:49.295" v="3"/>
        <pc:sldMkLst>
          <pc:docMk/>
          <pc:sldMk cId="197788441" sldId="257307"/>
        </pc:sldMkLst>
      </pc:sldChg>
      <pc:sldChg chg="modSp addCm">
        <pc:chgData name="Corcoran. Emer (ESB Networks)" userId="S::emer.corcoran@esb.ie::be6c6ed3-1caa-45fc-aff4-32e0fc3d4911" providerId="AD" clId="Web-{D9EDEBE5-4587-A91E-9238-E8A31930B913}" dt="2024-02-22T16:12:40.927" v="4"/>
        <pc:sldMkLst>
          <pc:docMk/>
          <pc:sldMk cId="869737009" sldId="257308"/>
        </pc:sldMkLst>
        <pc:picChg chg="mod">
          <ac:chgData name="Corcoran. Emer (ESB Networks)" userId="S::emer.corcoran@esb.ie::be6c6ed3-1caa-45fc-aff4-32e0fc3d4911" providerId="AD" clId="Web-{D9EDEBE5-4587-A91E-9238-E8A31930B913}" dt="2024-02-22T16:10:44.983" v="2" actId="1076"/>
          <ac:picMkLst>
            <pc:docMk/>
            <pc:sldMk cId="869737009" sldId="257308"/>
            <ac:picMk id="67" creationId="{8BB2293B-27F6-1315-971C-4C86357D565A}"/>
          </ac:picMkLst>
        </pc:picChg>
      </pc:sldChg>
    </pc:docChg>
  </pc:docChgLst>
  <pc:docChgLst>
    <pc:chgData name="Corcoran. Emer (ESB Networks)" userId="S::emer.corcoran@esb.ie::be6c6ed3-1caa-45fc-aff4-32e0fc3d4911" providerId="AD" clId="Web-{E5DB9922-7900-2988-EF53-1906DC6D8701}"/>
    <pc:docChg chg="mod">
      <pc:chgData name="Corcoran. Emer (ESB Networks)" userId="S::emer.corcoran@esb.ie::be6c6ed3-1caa-45fc-aff4-32e0fc3d4911" providerId="AD" clId="Web-{E5DB9922-7900-2988-EF53-1906DC6D8701}" dt="2023-09-11T14:21:44.975" v="3"/>
      <pc:docMkLst>
        <pc:docMk/>
      </pc:docMkLst>
      <pc:sldChg chg="addCm">
        <pc:chgData name="Corcoran. Emer (ESB Networks)" userId="S::emer.corcoran@esb.ie::be6c6ed3-1caa-45fc-aff4-32e0fc3d4911" providerId="AD" clId="Web-{E5DB9922-7900-2988-EF53-1906DC6D8701}" dt="2023-09-11T14:20:32.455" v="2"/>
        <pc:sldMkLst>
          <pc:docMk/>
          <pc:sldMk cId="2678521947" sldId="257306"/>
        </pc:sldMkLst>
      </pc:sldChg>
      <pc:sldChg chg="addCm">
        <pc:chgData name="Corcoran. Emer (ESB Networks)" userId="S::emer.corcoran@esb.ie::be6c6ed3-1caa-45fc-aff4-32e0fc3d4911" providerId="AD" clId="Web-{E5DB9922-7900-2988-EF53-1906DC6D8701}" dt="2023-09-11T14:21:44.975" v="3"/>
        <pc:sldMkLst>
          <pc:docMk/>
          <pc:sldMk cId="197788441" sldId="257307"/>
        </pc:sldMkLst>
      </pc:sldChg>
      <pc:sldChg chg="addCm">
        <pc:chgData name="Corcoran. Emer (ESB Networks)" userId="S::emer.corcoran@esb.ie::be6c6ed3-1caa-45fc-aff4-32e0fc3d4911" providerId="AD" clId="Web-{E5DB9922-7900-2988-EF53-1906DC6D8701}" dt="2023-09-11T14:12:44.005" v="1"/>
        <pc:sldMkLst>
          <pc:docMk/>
          <pc:sldMk cId="869737009" sldId="257308"/>
        </pc:sldMkLst>
      </pc:sldChg>
    </pc:docChg>
  </pc:docChgLst>
  <pc:docChgLst>
    <pc:chgData name="O'Hagan. Sinead (Contractor - Ernst &amp; Young)" userId="37e0efa1-0107-4a6a-a201-5949a9329ddf" providerId="ADAL" clId="{596FC7B4-F06D-4FA3-AB02-D8CF3FE77682}"/>
    <pc:docChg chg="undo custSel delSld modSld delMainMaster">
      <pc:chgData name="O'Hagan. Sinead (Contractor - Ernst &amp; Young)" userId="37e0efa1-0107-4a6a-a201-5949a9329ddf" providerId="ADAL" clId="{596FC7B4-F06D-4FA3-AB02-D8CF3FE77682}" dt="2022-08-03T09:08:49.766" v="159" actId="1037"/>
      <pc:docMkLst>
        <pc:docMk/>
      </pc:docMkLst>
      <pc:sldChg chg="del">
        <pc:chgData name="O'Hagan. Sinead (Contractor - Ernst &amp; Young)" userId="37e0efa1-0107-4a6a-a201-5949a9329ddf" providerId="ADAL" clId="{596FC7B4-F06D-4FA3-AB02-D8CF3FE77682}" dt="2022-08-03T09:08:37.269" v="142" actId="47"/>
        <pc:sldMkLst>
          <pc:docMk/>
          <pc:sldMk cId="1548013933" sldId="746"/>
        </pc:sldMkLst>
      </pc:sldChg>
      <pc:sldChg chg="modSp mod">
        <pc:chgData name="O'Hagan. Sinead (Contractor - Ernst &amp; Young)" userId="37e0efa1-0107-4a6a-a201-5949a9329ddf" providerId="ADAL" clId="{596FC7B4-F06D-4FA3-AB02-D8CF3FE77682}" dt="2022-08-03T09:04:50.568" v="6" actId="20577"/>
        <pc:sldMkLst>
          <pc:docMk/>
          <pc:sldMk cId="2678521947" sldId="257306"/>
        </pc:sldMkLst>
        <pc:spChg chg="mod">
          <ac:chgData name="O'Hagan. Sinead (Contractor - Ernst &amp; Young)" userId="37e0efa1-0107-4a6a-a201-5949a9329ddf" providerId="ADAL" clId="{596FC7B4-F06D-4FA3-AB02-D8CF3FE77682}" dt="2022-08-03T09:04:50.568" v="6" actId="20577"/>
          <ac:spMkLst>
            <pc:docMk/>
            <pc:sldMk cId="2678521947" sldId="257306"/>
            <ac:spMk id="4" creationId="{41825E9A-DF3E-44B2-A2BB-5D3F04B1C432}"/>
          </ac:spMkLst>
        </pc:spChg>
      </pc:sldChg>
      <pc:sldChg chg="modSp mod">
        <pc:chgData name="O'Hagan. Sinead (Contractor - Ernst &amp; Young)" userId="37e0efa1-0107-4a6a-a201-5949a9329ddf" providerId="ADAL" clId="{596FC7B4-F06D-4FA3-AB02-D8CF3FE77682}" dt="2022-08-03T09:05:23.576" v="12" actId="20577"/>
        <pc:sldMkLst>
          <pc:docMk/>
          <pc:sldMk cId="197788441" sldId="257307"/>
        </pc:sldMkLst>
        <pc:spChg chg="mod">
          <ac:chgData name="O'Hagan. Sinead (Contractor - Ernst &amp; Young)" userId="37e0efa1-0107-4a6a-a201-5949a9329ddf" providerId="ADAL" clId="{596FC7B4-F06D-4FA3-AB02-D8CF3FE77682}" dt="2022-08-03T09:05:23.576" v="12" actId="20577"/>
          <ac:spMkLst>
            <pc:docMk/>
            <pc:sldMk cId="197788441" sldId="257307"/>
            <ac:spMk id="4" creationId="{41825E9A-DF3E-44B2-A2BB-5D3F04B1C432}"/>
          </ac:spMkLst>
        </pc:spChg>
      </pc:sldChg>
      <pc:sldChg chg="addSp delSp modSp mod addCm delCm">
        <pc:chgData name="O'Hagan. Sinead (Contractor - Ernst &amp; Young)" userId="37e0efa1-0107-4a6a-a201-5949a9329ddf" providerId="ADAL" clId="{596FC7B4-F06D-4FA3-AB02-D8CF3FE77682}" dt="2022-08-03T09:08:49.766" v="159" actId="1037"/>
        <pc:sldMkLst>
          <pc:docMk/>
          <pc:sldMk cId="869737009" sldId="257308"/>
        </pc:sldMkLst>
        <pc:spChg chg="mod">
          <ac:chgData name="O'Hagan. Sinead (Contractor - Ernst &amp; Young)" userId="37e0efa1-0107-4a6a-a201-5949a9329ddf" providerId="ADAL" clId="{596FC7B4-F06D-4FA3-AB02-D8CF3FE77682}" dt="2022-08-03T09:08:49.766" v="159" actId="1037"/>
          <ac:spMkLst>
            <pc:docMk/>
            <pc:sldMk cId="869737009" sldId="257308"/>
            <ac:spMk id="8" creationId="{B6E6A53E-BC2D-4568-8D84-21FD4C028BC8}"/>
          </ac:spMkLst>
        </pc:spChg>
        <pc:spChg chg="mod">
          <ac:chgData name="O'Hagan. Sinead (Contractor - Ernst &amp; Young)" userId="37e0efa1-0107-4a6a-a201-5949a9329ddf" providerId="ADAL" clId="{596FC7B4-F06D-4FA3-AB02-D8CF3FE77682}" dt="2022-08-03T09:08:49.766" v="159" actId="1037"/>
          <ac:spMkLst>
            <pc:docMk/>
            <pc:sldMk cId="869737009" sldId="257308"/>
            <ac:spMk id="9" creationId="{EC1ABB2F-DE8D-4C9E-A89F-246E76BB68D2}"/>
          </ac:spMkLst>
        </pc:spChg>
        <pc:spChg chg="mod">
          <ac:chgData name="O'Hagan. Sinead (Contractor - Ernst &amp; Young)" userId="37e0efa1-0107-4a6a-a201-5949a9329ddf" providerId="ADAL" clId="{596FC7B4-F06D-4FA3-AB02-D8CF3FE77682}" dt="2022-08-03T09:08:49.766" v="159" actId="1037"/>
          <ac:spMkLst>
            <pc:docMk/>
            <pc:sldMk cId="869737009" sldId="257308"/>
            <ac:spMk id="10" creationId="{8122795E-C941-4509-B41C-30C9003612E5}"/>
          </ac:spMkLst>
        </pc:spChg>
        <pc:spChg chg="mod">
          <ac:chgData name="O'Hagan. Sinead (Contractor - Ernst &amp; Young)" userId="37e0efa1-0107-4a6a-a201-5949a9329ddf" providerId="ADAL" clId="{596FC7B4-F06D-4FA3-AB02-D8CF3FE77682}" dt="2022-08-03T09:08:49.766" v="159" actId="1037"/>
          <ac:spMkLst>
            <pc:docMk/>
            <pc:sldMk cId="869737009" sldId="257308"/>
            <ac:spMk id="11" creationId="{21D76DC2-1624-48F9-89BF-C18FC670CAD1}"/>
          </ac:spMkLst>
        </pc:spChg>
        <pc:spChg chg="mod">
          <ac:chgData name="O'Hagan. Sinead (Contractor - Ernst &amp; Young)" userId="37e0efa1-0107-4a6a-a201-5949a9329ddf" providerId="ADAL" clId="{596FC7B4-F06D-4FA3-AB02-D8CF3FE77682}" dt="2022-08-03T09:08:17.503" v="137" actId="164"/>
          <ac:spMkLst>
            <pc:docMk/>
            <pc:sldMk cId="869737009" sldId="257308"/>
            <ac:spMk id="12" creationId="{BF197A6C-E43C-443B-999F-EAF9324CB1F8}"/>
          </ac:spMkLst>
        </pc:spChg>
        <pc:spChg chg="mod">
          <ac:chgData name="O'Hagan. Sinead (Contractor - Ernst &amp; Young)" userId="37e0efa1-0107-4a6a-a201-5949a9329ddf" providerId="ADAL" clId="{596FC7B4-F06D-4FA3-AB02-D8CF3FE77682}" dt="2022-08-03T09:08:49.766" v="159" actId="1037"/>
          <ac:spMkLst>
            <pc:docMk/>
            <pc:sldMk cId="869737009" sldId="257308"/>
            <ac:spMk id="13" creationId="{F4EADA55-5921-43D5-9A37-213C797E8360}"/>
          </ac:spMkLst>
        </pc:spChg>
        <pc:spChg chg="mod">
          <ac:chgData name="O'Hagan. Sinead (Contractor - Ernst &amp; Young)" userId="37e0efa1-0107-4a6a-a201-5949a9329ddf" providerId="ADAL" clId="{596FC7B4-F06D-4FA3-AB02-D8CF3FE77682}" dt="2022-08-03T09:08:49.766" v="159" actId="1037"/>
          <ac:spMkLst>
            <pc:docMk/>
            <pc:sldMk cId="869737009" sldId="257308"/>
            <ac:spMk id="14" creationId="{431F93A3-017E-48DB-B50E-3F3135447CE1}"/>
          </ac:spMkLst>
        </pc:spChg>
        <pc:spChg chg="mod">
          <ac:chgData name="O'Hagan. Sinead (Contractor - Ernst &amp; Young)" userId="37e0efa1-0107-4a6a-a201-5949a9329ddf" providerId="ADAL" clId="{596FC7B4-F06D-4FA3-AB02-D8CF3FE77682}" dt="2022-08-03T09:08:49.766" v="159" actId="1037"/>
          <ac:spMkLst>
            <pc:docMk/>
            <pc:sldMk cId="869737009" sldId="257308"/>
            <ac:spMk id="16" creationId="{8475ED51-6C7B-4E46-88EF-7B72BF48D90C}"/>
          </ac:spMkLst>
        </pc:spChg>
        <pc:spChg chg="add del mod">
          <ac:chgData name="O'Hagan. Sinead (Contractor - Ernst &amp; Young)" userId="37e0efa1-0107-4a6a-a201-5949a9329ddf" providerId="ADAL" clId="{596FC7B4-F06D-4FA3-AB02-D8CF3FE77682}" dt="2022-08-03T09:08:49.766" v="159" actId="1037"/>
          <ac:spMkLst>
            <pc:docMk/>
            <pc:sldMk cId="869737009" sldId="257308"/>
            <ac:spMk id="20" creationId="{F80F3DB1-E6EA-47EC-9371-949E0A1364CB}"/>
          </ac:spMkLst>
        </pc:spChg>
        <pc:spChg chg="mod">
          <ac:chgData name="O'Hagan. Sinead (Contractor - Ernst &amp; Young)" userId="37e0efa1-0107-4a6a-a201-5949a9329ddf" providerId="ADAL" clId="{596FC7B4-F06D-4FA3-AB02-D8CF3FE77682}" dt="2022-08-03T09:08:49.766" v="159" actId="1037"/>
          <ac:spMkLst>
            <pc:docMk/>
            <pc:sldMk cId="869737009" sldId="257308"/>
            <ac:spMk id="21" creationId="{36266BC1-5D64-49B8-916D-EBA950332EFD}"/>
          </ac:spMkLst>
        </pc:spChg>
        <pc:spChg chg="mod">
          <ac:chgData name="O'Hagan. Sinead (Contractor - Ernst &amp; Young)" userId="37e0efa1-0107-4a6a-a201-5949a9329ddf" providerId="ADAL" clId="{596FC7B4-F06D-4FA3-AB02-D8CF3FE77682}" dt="2022-08-03T09:08:49.766" v="159" actId="1037"/>
          <ac:spMkLst>
            <pc:docMk/>
            <pc:sldMk cId="869737009" sldId="257308"/>
            <ac:spMk id="22" creationId="{872B635B-6505-4B6F-85E7-9C86022B6C2D}"/>
          </ac:spMkLst>
        </pc:spChg>
        <pc:spChg chg="mod">
          <ac:chgData name="O'Hagan. Sinead (Contractor - Ernst &amp; Young)" userId="37e0efa1-0107-4a6a-a201-5949a9329ddf" providerId="ADAL" clId="{596FC7B4-F06D-4FA3-AB02-D8CF3FE77682}" dt="2022-08-03T09:08:49.766" v="159" actId="1037"/>
          <ac:spMkLst>
            <pc:docMk/>
            <pc:sldMk cId="869737009" sldId="257308"/>
            <ac:spMk id="23" creationId="{2363AFF5-8DE4-4847-B216-DB2982521510}"/>
          </ac:spMkLst>
        </pc:spChg>
        <pc:spChg chg="add del">
          <ac:chgData name="O'Hagan. Sinead (Contractor - Ernst &amp; Young)" userId="37e0efa1-0107-4a6a-a201-5949a9329ddf" providerId="ADAL" clId="{596FC7B4-F06D-4FA3-AB02-D8CF3FE77682}" dt="2022-08-03T09:06:31.868" v="26" actId="478"/>
          <ac:spMkLst>
            <pc:docMk/>
            <pc:sldMk cId="869737009" sldId="257308"/>
            <ac:spMk id="24" creationId="{086234E1-0748-4033-834C-77A521E01E5C}"/>
          </ac:spMkLst>
        </pc:spChg>
        <pc:spChg chg="add del">
          <ac:chgData name="O'Hagan. Sinead (Contractor - Ernst &amp; Young)" userId="37e0efa1-0107-4a6a-a201-5949a9329ddf" providerId="ADAL" clId="{596FC7B4-F06D-4FA3-AB02-D8CF3FE77682}" dt="2022-08-03T09:06:31.868" v="26" actId="478"/>
          <ac:spMkLst>
            <pc:docMk/>
            <pc:sldMk cId="869737009" sldId="257308"/>
            <ac:spMk id="25" creationId="{63AF80C2-CB14-4E9D-9CF6-8783FB5DF366}"/>
          </ac:spMkLst>
        </pc:spChg>
        <pc:spChg chg="add del">
          <ac:chgData name="O'Hagan. Sinead (Contractor - Ernst &amp; Young)" userId="37e0efa1-0107-4a6a-a201-5949a9329ddf" providerId="ADAL" clId="{596FC7B4-F06D-4FA3-AB02-D8CF3FE77682}" dt="2022-08-03T09:06:31.868" v="26" actId="478"/>
          <ac:spMkLst>
            <pc:docMk/>
            <pc:sldMk cId="869737009" sldId="257308"/>
            <ac:spMk id="26" creationId="{4E4B4A1C-BF0C-44E5-9812-9089A218205E}"/>
          </ac:spMkLst>
        </pc:spChg>
        <pc:spChg chg="add del mod">
          <ac:chgData name="O'Hagan. Sinead (Contractor - Ernst &amp; Young)" userId="37e0efa1-0107-4a6a-a201-5949a9329ddf" providerId="ADAL" clId="{596FC7B4-F06D-4FA3-AB02-D8CF3FE77682}" dt="2022-08-03T09:06:32.973" v="27" actId="478"/>
          <ac:spMkLst>
            <pc:docMk/>
            <pc:sldMk cId="869737009" sldId="257308"/>
            <ac:spMk id="27" creationId="{A90668EF-37C6-4487-98B3-A24A39878311}"/>
          </ac:spMkLst>
        </pc:spChg>
        <pc:spChg chg="mod">
          <ac:chgData name="O'Hagan. Sinead (Contractor - Ernst &amp; Young)" userId="37e0efa1-0107-4a6a-a201-5949a9329ddf" providerId="ADAL" clId="{596FC7B4-F06D-4FA3-AB02-D8CF3FE77682}" dt="2022-08-03T09:08:49.766" v="159" actId="1037"/>
          <ac:spMkLst>
            <pc:docMk/>
            <pc:sldMk cId="869737009" sldId="257308"/>
            <ac:spMk id="28" creationId="{16FF8F10-73B0-48A8-A38E-75A07C15763F}"/>
          </ac:spMkLst>
        </pc:spChg>
        <pc:spChg chg="mod">
          <ac:chgData name="O'Hagan. Sinead (Contractor - Ernst &amp; Young)" userId="37e0efa1-0107-4a6a-a201-5949a9329ddf" providerId="ADAL" clId="{596FC7B4-F06D-4FA3-AB02-D8CF3FE77682}" dt="2022-08-03T09:08:49.766" v="159" actId="1037"/>
          <ac:spMkLst>
            <pc:docMk/>
            <pc:sldMk cId="869737009" sldId="257308"/>
            <ac:spMk id="29" creationId="{EEC88EF4-5B46-40D5-B4DC-20C23D2FED71}"/>
          </ac:spMkLst>
        </pc:spChg>
        <pc:spChg chg="mod">
          <ac:chgData name="O'Hagan. Sinead (Contractor - Ernst &amp; Young)" userId="37e0efa1-0107-4a6a-a201-5949a9329ddf" providerId="ADAL" clId="{596FC7B4-F06D-4FA3-AB02-D8CF3FE77682}" dt="2022-08-03T09:08:49.766" v="159" actId="1037"/>
          <ac:spMkLst>
            <pc:docMk/>
            <pc:sldMk cId="869737009" sldId="257308"/>
            <ac:spMk id="30" creationId="{34CD8468-A3AC-495C-BBB5-6EA6A8AA1D6E}"/>
          </ac:spMkLst>
        </pc:spChg>
        <pc:spChg chg="mod">
          <ac:chgData name="O'Hagan. Sinead (Contractor - Ernst &amp; Young)" userId="37e0efa1-0107-4a6a-a201-5949a9329ddf" providerId="ADAL" clId="{596FC7B4-F06D-4FA3-AB02-D8CF3FE77682}" dt="2022-08-03T09:08:49.766" v="159" actId="1037"/>
          <ac:spMkLst>
            <pc:docMk/>
            <pc:sldMk cId="869737009" sldId="257308"/>
            <ac:spMk id="31" creationId="{77F2F0DB-FEEA-4A8B-99B1-C36432A40BC6}"/>
          </ac:spMkLst>
        </pc:spChg>
        <pc:spChg chg="mod">
          <ac:chgData name="O'Hagan. Sinead (Contractor - Ernst &amp; Young)" userId="37e0efa1-0107-4a6a-a201-5949a9329ddf" providerId="ADAL" clId="{596FC7B4-F06D-4FA3-AB02-D8CF3FE77682}" dt="2022-08-03T09:08:49.766" v="159" actId="1037"/>
          <ac:spMkLst>
            <pc:docMk/>
            <pc:sldMk cId="869737009" sldId="257308"/>
            <ac:spMk id="32" creationId="{40287278-4378-49BD-916E-956BBF21B4B2}"/>
          </ac:spMkLst>
        </pc:spChg>
        <pc:spChg chg="mod">
          <ac:chgData name="O'Hagan. Sinead (Contractor - Ernst &amp; Young)" userId="37e0efa1-0107-4a6a-a201-5949a9329ddf" providerId="ADAL" clId="{596FC7B4-F06D-4FA3-AB02-D8CF3FE77682}" dt="2022-08-03T09:08:49.766" v="159" actId="1037"/>
          <ac:spMkLst>
            <pc:docMk/>
            <pc:sldMk cId="869737009" sldId="257308"/>
            <ac:spMk id="33" creationId="{EC022AB5-9CFB-4EE3-82E6-63461757F051}"/>
          </ac:spMkLst>
        </pc:spChg>
        <pc:spChg chg="mod">
          <ac:chgData name="O'Hagan. Sinead (Contractor - Ernst &amp; Young)" userId="37e0efa1-0107-4a6a-a201-5949a9329ddf" providerId="ADAL" clId="{596FC7B4-F06D-4FA3-AB02-D8CF3FE77682}" dt="2022-08-03T09:08:49.766" v="159" actId="1037"/>
          <ac:spMkLst>
            <pc:docMk/>
            <pc:sldMk cId="869737009" sldId="257308"/>
            <ac:spMk id="34" creationId="{E38D18BD-D7ED-4B6F-902C-236278FA0753}"/>
          </ac:spMkLst>
        </pc:spChg>
        <pc:spChg chg="mod">
          <ac:chgData name="O'Hagan. Sinead (Contractor - Ernst &amp; Young)" userId="37e0efa1-0107-4a6a-a201-5949a9329ddf" providerId="ADAL" clId="{596FC7B4-F06D-4FA3-AB02-D8CF3FE77682}" dt="2022-08-03T09:08:49.766" v="159" actId="1037"/>
          <ac:spMkLst>
            <pc:docMk/>
            <pc:sldMk cId="869737009" sldId="257308"/>
            <ac:spMk id="35" creationId="{9996B0BC-533C-47F5-8CAE-9517D2E95023}"/>
          </ac:spMkLst>
        </pc:spChg>
        <pc:spChg chg="mod">
          <ac:chgData name="O'Hagan. Sinead (Contractor - Ernst &amp; Young)" userId="37e0efa1-0107-4a6a-a201-5949a9329ddf" providerId="ADAL" clId="{596FC7B4-F06D-4FA3-AB02-D8CF3FE77682}" dt="2022-08-03T09:08:49.766" v="159" actId="1037"/>
          <ac:spMkLst>
            <pc:docMk/>
            <pc:sldMk cId="869737009" sldId="257308"/>
            <ac:spMk id="36" creationId="{AFA9FCF3-2116-4DE8-A0CB-F287C1193141}"/>
          </ac:spMkLst>
        </pc:spChg>
        <pc:spChg chg="mod">
          <ac:chgData name="O'Hagan. Sinead (Contractor - Ernst &amp; Young)" userId="37e0efa1-0107-4a6a-a201-5949a9329ddf" providerId="ADAL" clId="{596FC7B4-F06D-4FA3-AB02-D8CF3FE77682}" dt="2022-08-03T09:08:49.766" v="159" actId="1037"/>
          <ac:spMkLst>
            <pc:docMk/>
            <pc:sldMk cId="869737009" sldId="257308"/>
            <ac:spMk id="37" creationId="{C5705680-0D67-4476-808D-279CDFB8AF39}"/>
          </ac:spMkLst>
        </pc:spChg>
        <pc:spChg chg="mod">
          <ac:chgData name="O'Hagan. Sinead (Contractor - Ernst &amp; Young)" userId="37e0efa1-0107-4a6a-a201-5949a9329ddf" providerId="ADAL" clId="{596FC7B4-F06D-4FA3-AB02-D8CF3FE77682}" dt="2022-08-03T09:08:49.766" v="159" actId="1037"/>
          <ac:spMkLst>
            <pc:docMk/>
            <pc:sldMk cId="869737009" sldId="257308"/>
            <ac:spMk id="38" creationId="{9C0ECC14-AFBE-4075-B946-271FD04905E8}"/>
          </ac:spMkLst>
        </pc:spChg>
        <pc:spChg chg="mod">
          <ac:chgData name="O'Hagan. Sinead (Contractor - Ernst &amp; Young)" userId="37e0efa1-0107-4a6a-a201-5949a9329ddf" providerId="ADAL" clId="{596FC7B4-F06D-4FA3-AB02-D8CF3FE77682}" dt="2022-08-03T09:08:49.766" v="159" actId="1037"/>
          <ac:spMkLst>
            <pc:docMk/>
            <pc:sldMk cId="869737009" sldId="257308"/>
            <ac:spMk id="39" creationId="{87DA2EFF-A58D-4A7C-8620-8E0B56467E26}"/>
          </ac:spMkLst>
        </pc:spChg>
        <pc:spChg chg="mod">
          <ac:chgData name="O'Hagan. Sinead (Contractor - Ernst &amp; Young)" userId="37e0efa1-0107-4a6a-a201-5949a9329ddf" providerId="ADAL" clId="{596FC7B4-F06D-4FA3-AB02-D8CF3FE77682}" dt="2022-08-03T09:08:49.766" v="159" actId="1037"/>
          <ac:spMkLst>
            <pc:docMk/>
            <pc:sldMk cId="869737009" sldId="257308"/>
            <ac:spMk id="40" creationId="{DB012CF6-598B-4F01-8974-8FCCCF89B5DC}"/>
          </ac:spMkLst>
        </pc:spChg>
        <pc:spChg chg="add del">
          <ac:chgData name="O'Hagan. Sinead (Contractor - Ernst &amp; Young)" userId="37e0efa1-0107-4a6a-a201-5949a9329ddf" providerId="ADAL" clId="{596FC7B4-F06D-4FA3-AB02-D8CF3FE77682}" dt="2022-08-03T09:06:31.868" v="26" actId="478"/>
          <ac:spMkLst>
            <pc:docMk/>
            <pc:sldMk cId="869737009" sldId="257308"/>
            <ac:spMk id="41" creationId="{96FC4C69-AB10-4A6C-BDFE-1CA849406E1A}"/>
          </ac:spMkLst>
        </pc:spChg>
        <pc:spChg chg="mod">
          <ac:chgData name="O'Hagan. Sinead (Contractor - Ernst &amp; Young)" userId="37e0efa1-0107-4a6a-a201-5949a9329ddf" providerId="ADAL" clId="{596FC7B4-F06D-4FA3-AB02-D8CF3FE77682}" dt="2022-08-03T09:08:49.766" v="159" actId="1037"/>
          <ac:spMkLst>
            <pc:docMk/>
            <pc:sldMk cId="869737009" sldId="257308"/>
            <ac:spMk id="42" creationId="{EB6F22E3-422E-4A1E-8FC3-B7DF5743931C}"/>
          </ac:spMkLst>
        </pc:spChg>
        <pc:spChg chg="mod">
          <ac:chgData name="O'Hagan. Sinead (Contractor - Ernst &amp; Young)" userId="37e0efa1-0107-4a6a-a201-5949a9329ddf" providerId="ADAL" clId="{596FC7B4-F06D-4FA3-AB02-D8CF3FE77682}" dt="2022-08-03T09:08:49.766" v="159" actId="1037"/>
          <ac:spMkLst>
            <pc:docMk/>
            <pc:sldMk cId="869737009" sldId="257308"/>
            <ac:spMk id="43" creationId="{939B50AA-BDF4-4932-960C-5A66A00B8A22}"/>
          </ac:spMkLst>
        </pc:spChg>
        <pc:spChg chg="mod">
          <ac:chgData name="O'Hagan. Sinead (Contractor - Ernst &amp; Young)" userId="37e0efa1-0107-4a6a-a201-5949a9329ddf" providerId="ADAL" clId="{596FC7B4-F06D-4FA3-AB02-D8CF3FE77682}" dt="2022-08-03T09:08:49.766" v="159" actId="1037"/>
          <ac:spMkLst>
            <pc:docMk/>
            <pc:sldMk cId="869737009" sldId="257308"/>
            <ac:spMk id="44" creationId="{5EA43C08-09C6-42F5-B329-B8354A2E5EF7}"/>
          </ac:spMkLst>
        </pc:spChg>
        <pc:spChg chg="mod">
          <ac:chgData name="O'Hagan. Sinead (Contractor - Ernst &amp; Young)" userId="37e0efa1-0107-4a6a-a201-5949a9329ddf" providerId="ADAL" clId="{596FC7B4-F06D-4FA3-AB02-D8CF3FE77682}" dt="2022-08-03T09:08:49.766" v="159" actId="1037"/>
          <ac:spMkLst>
            <pc:docMk/>
            <pc:sldMk cId="869737009" sldId="257308"/>
            <ac:spMk id="45" creationId="{4CD62EA2-37B0-4694-996A-4B1521E7A7F6}"/>
          </ac:spMkLst>
        </pc:spChg>
        <pc:spChg chg="mod">
          <ac:chgData name="O'Hagan. Sinead (Contractor - Ernst &amp; Young)" userId="37e0efa1-0107-4a6a-a201-5949a9329ddf" providerId="ADAL" clId="{596FC7B4-F06D-4FA3-AB02-D8CF3FE77682}" dt="2022-08-03T09:08:49.766" v="159" actId="1037"/>
          <ac:spMkLst>
            <pc:docMk/>
            <pc:sldMk cId="869737009" sldId="257308"/>
            <ac:spMk id="46" creationId="{8261ECB8-5DEC-45BF-A43A-33D9D441AB3D}"/>
          </ac:spMkLst>
        </pc:spChg>
        <pc:spChg chg="mod">
          <ac:chgData name="O'Hagan. Sinead (Contractor - Ernst &amp; Young)" userId="37e0efa1-0107-4a6a-a201-5949a9329ddf" providerId="ADAL" clId="{596FC7B4-F06D-4FA3-AB02-D8CF3FE77682}" dt="2022-08-03T09:08:49.766" v="159" actId="1037"/>
          <ac:spMkLst>
            <pc:docMk/>
            <pc:sldMk cId="869737009" sldId="257308"/>
            <ac:spMk id="47" creationId="{AE27ADDE-CE37-4006-A6D1-834767181482}"/>
          </ac:spMkLst>
        </pc:spChg>
        <pc:spChg chg="add del">
          <ac:chgData name="O'Hagan. Sinead (Contractor - Ernst &amp; Young)" userId="37e0efa1-0107-4a6a-a201-5949a9329ddf" providerId="ADAL" clId="{596FC7B4-F06D-4FA3-AB02-D8CF3FE77682}" dt="2022-08-03T09:06:31.868" v="26" actId="478"/>
          <ac:spMkLst>
            <pc:docMk/>
            <pc:sldMk cId="869737009" sldId="257308"/>
            <ac:spMk id="48" creationId="{AD61CCB3-E3C0-4DE8-B4A2-A0B52A213DC1}"/>
          </ac:spMkLst>
        </pc:spChg>
        <pc:spChg chg="add del">
          <ac:chgData name="O'Hagan. Sinead (Contractor - Ernst &amp; Young)" userId="37e0efa1-0107-4a6a-a201-5949a9329ddf" providerId="ADAL" clId="{596FC7B4-F06D-4FA3-AB02-D8CF3FE77682}" dt="2022-08-03T09:06:31.868" v="26" actId="478"/>
          <ac:spMkLst>
            <pc:docMk/>
            <pc:sldMk cId="869737009" sldId="257308"/>
            <ac:spMk id="49" creationId="{6FC3E578-5CC6-49A8-AC49-C852E37654E1}"/>
          </ac:spMkLst>
        </pc:spChg>
        <pc:spChg chg="add del">
          <ac:chgData name="O'Hagan. Sinead (Contractor - Ernst &amp; Young)" userId="37e0efa1-0107-4a6a-a201-5949a9329ddf" providerId="ADAL" clId="{596FC7B4-F06D-4FA3-AB02-D8CF3FE77682}" dt="2022-08-03T09:06:31.868" v="26" actId="478"/>
          <ac:spMkLst>
            <pc:docMk/>
            <pc:sldMk cId="869737009" sldId="257308"/>
            <ac:spMk id="50" creationId="{0FD2A6AA-4683-4099-AFA0-A76756CF6D10}"/>
          </ac:spMkLst>
        </pc:spChg>
        <pc:spChg chg="add del">
          <ac:chgData name="O'Hagan. Sinead (Contractor - Ernst &amp; Young)" userId="37e0efa1-0107-4a6a-a201-5949a9329ddf" providerId="ADAL" clId="{596FC7B4-F06D-4FA3-AB02-D8CF3FE77682}" dt="2022-08-03T09:06:31.868" v="26" actId="478"/>
          <ac:spMkLst>
            <pc:docMk/>
            <pc:sldMk cId="869737009" sldId="257308"/>
            <ac:spMk id="51" creationId="{BB7D5B5F-06A2-4901-818D-99631FF22815}"/>
          </ac:spMkLst>
        </pc:spChg>
        <pc:spChg chg="mod">
          <ac:chgData name="O'Hagan. Sinead (Contractor - Ernst &amp; Young)" userId="37e0efa1-0107-4a6a-a201-5949a9329ddf" providerId="ADAL" clId="{596FC7B4-F06D-4FA3-AB02-D8CF3FE77682}" dt="2022-08-03T09:08:49.766" v="159" actId="1037"/>
          <ac:spMkLst>
            <pc:docMk/>
            <pc:sldMk cId="869737009" sldId="257308"/>
            <ac:spMk id="52" creationId="{0C2F4F46-9540-441E-AE7C-D91BB2A05802}"/>
          </ac:spMkLst>
        </pc:spChg>
        <pc:spChg chg="mod">
          <ac:chgData name="O'Hagan. Sinead (Contractor - Ernst &amp; Young)" userId="37e0efa1-0107-4a6a-a201-5949a9329ddf" providerId="ADAL" clId="{596FC7B4-F06D-4FA3-AB02-D8CF3FE77682}" dt="2022-08-03T09:08:49.766" v="159" actId="1037"/>
          <ac:spMkLst>
            <pc:docMk/>
            <pc:sldMk cId="869737009" sldId="257308"/>
            <ac:spMk id="53" creationId="{DA33DE6F-DE12-4038-80B8-CFE9FEEF6BD9}"/>
          </ac:spMkLst>
        </pc:spChg>
        <pc:spChg chg="mod">
          <ac:chgData name="O'Hagan. Sinead (Contractor - Ernst &amp; Young)" userId="37e0efa1-0107-4a6a-a201-5949a9329ddf" providerId="ADAL" clId="{596FC7B4-F06D-4FA3-AB02-D8CF3FE77682}" dt="2022-08-03T09:08:49.766" v="159" actId="1037"/>
          <ac:spMkLst>
            <pc:docMk/>
            <pc:sldMk cId="869737009" sldId="257308"/>
            <ac:spMk id="54" creationId="{C8669061-C2D6-446F-BED0-2F6529A03DDC}"/>
          </ac:spMkLst>
        </pc:spChg>
        <pc:spChg chg="mod">
          <ac:chgData name="O'Hagan. Sinead (Contractor - Ernst &amp; Young)" userId="37e0efa1-0107-4a6a-a201-5949a9329ddf" providerId="ADAL" clId="{596FC7B4-F06D-4FA3-AB02-D8CF3FE77682}" dt="2022-08-03T09:08:49.766" v="159" actId="1037"/>
          <ac:spMkLst>
            <pc:docMk/>
            <pc:sldMk cId="869737009" sldId="257308"/>
            <ac:spMk id="56" creationId="{D02C1019-5EB5-479C-A5E5-B02719F0E37D}"/>
          </ac:spMkLst>
        </pc:spChg>
        <pc:spChg chg="mod">
          <ac:chgData name="O'Hagan. Sinead (Contractor - Ernst &amp; Young)" userId="37e0efa1-0107-4a6a-a201-5949a9329ddf" providerId="ADAL" clId="{596FC7B4-F06D-4FA3-AB02-D8CF3FE77682}" dt="2022-08-03T09:08:49.766" v="159" actId="1037"/>
          <ac:spMkLst>
            <pc:docMk/>
            <pc:sldMk cId="869737009" sldId="257308"/>
            <ac:spMk id="57" creationId="{317596E5-24FD-4C9B-8743-AE0689141C1F}"/>
          </ac:spMkLst>
        </pc:spChg>
        <pc:spChg chg="add del">
          <ac:chgData name="O'Hagan. Sinead (Contractor - Ernst &amp; Young)" userId="37e0efa1-0107-4a6a-a201-5949a9329ddf" providerId="ADAL" clId="{596FC7B4-F06D-4FA3-AB02-D8CF3FE77682}" dt="2022-08-03T09:06:31.868" v="26" actId="478"/>
          <ac:spMkLst>
            <pc:docMk/>
            <pc:sldMk cId="869737009" sldId="257308"/>
            <ac:spMk id="58" creationId="{0082E4CD-8DD9-4C8F-831A-76FE9B24E97C}"/>
          </ac:spMkLst>
        </pc:spChg>
        <pc:grpChg chg="add mod">
          <ac:chgData name="O'Hagan. Sinead (Contractor - Ernst &amp; Young)" userId="37e0efa1-0107-4a6a-a201-5949a9329ddf" providerId="ADAL" clId="{596FC7B4-F06D-4FA3-AB02-D8CF3FE77682}" dt="2022-08-03T09:08:49.766" v="159" actId="1037"/>
          <ac:grpSpMkLst>
            <pc:docMk/>
            <pc:sldMk cId="869737009" sldId="257308"/>
            <ac:grpSpMk id="4" creationId="{2F9BAE89-2A14-4432-8826-56B468238900}"/>
          </ac:grpSpMkLst>
        </pc:grpChg>
        <pc:graphicFrameChg chg="mod modGraphic">
          <ac:chgData name="O'Hagan. Sinead (Contractor - Ernst &amp; Young)" userId="37e0efa1-0107-4a6a-a201-5949a9329ddf" providerId="ADAL" clId="{596FC7B4-F06D-4FA3-AB02-D8CF3FE77682}" dt="2022-08-03T09:08:49.766" v="159" actId="1037"/>
          <ac:graphicFrameMkLst>
            <pc:docMk/>
            <pc:sldMk cId="869737009" sldId="257308"/>
            <ac:graphicFrameMk id="5" creationId="{6670DAB7-7CAE-4BEA-8DEA-221A5B41A1B8}"/>
          </ac:graphicFrameMkLst>
        </pc:graphicFrameChg>
        <pc:graphicFrameChg chg="mod modGraphic">
          <ac:chgData name="O'Hagan. Sinead (Contractor - Ernst &amp; Young)" userId="37e0efa1-0107-4a6a-a201-5949a9329ddf" providerId="ADAL" clId="{596FC7B4-F06D-4FA3-AB02-D8CF3FE77682}" dt="2022-08-03T09:08:49.766" v="159" actId="1037"/>
          <ac:graphicFrameMkLst>
            <pc:docMk/>
            <pc:sldMk cId="869737009" sldId="257308"/>
            <ac:graphicFrameMk id="6" creationId="{2308C7B6-B83E-42A9-A39B-7B6889F70E71}"/>
          </ac:graphicFrameMkLst>
        </pc:graphicFrameChg>
        <pc:graphicFrameChg chg="mod modGraphic">
          <ac:chgData name="O'Hagan. Sinead (Contractor - Ernst &amp; Young)" userId="37e0efa1-0107-4a6a-a201-5949a9329ddf" providerId="ADAL" clId="{596FC7B4-F06D-4FA3-AB02-D8CF3FE77682}" dt="2022-08-03T09:08:49.766" v="159" actId="1037"/>
          <ac:graphicFrameMkLst>
            <pc:docMk/>
            <pc:sldMk cId="869737009" sldId="257308"/>
            <ac:graphicFrameMk id="7" creationId="{37062EB4-A15E-429A-A150-E35CC823BA50}"/>
          </ac:graphicFrameMkLst>
        </pc:graphicFrameChg>
        <pc:cxnChg chg="mod">
          <ac:chgData name="O'Hagan. Sinead (Contractor - Ernst &amp; Young)" userId="37e0efa1-0107-4a6a-a201-5949a9329ddf" providerId="ADAL" clId="{596FC7B4-F06D-4FA3-AB02-D8CF3FE77682}" dt="2022-08-03T09:08:17.503" v="137" actId="164"/>
          <ac:cxnSpMkLst>
            <pc:docMk/>
            <pc:sldMk cId="869737009" sldId="257308"/>
            <ac:cxnSpMk id="15" creationId="{8DFEC1C8-FB51-43A9-9084-07F73B632638}"/>
          </ac:cxnSpMkLst>
        </pc:cxnChg>
      </pc:sldChg>
      <pc:sldChg chg="del">
        <pc:chgData name="O'Hagan. Sinead (Contractor - Ernst &amp; Young)" userId="37e0efa1-0107-4a6a-a201-5949a9329ddf" providerId="ADAL" clId="{596FC7B4-F06D-4FA3-AB02-D8CF3FE77682}" dt="2022-08-03T09:08:35.308" v="141" actId="47"/>
        <pc:sldMkLst>
          <pc:docMk/>
          <pc:sldMk cId="2975930892" sldId="257309"/>
        </pc:sldMkLst>
      </pc:sldChg>
      <pc:sldMasterChg chg="del delSldLayout">
        <pc:chgData name="O'Hagan. Sinead (Contractor - Ernst &amp; Young)" userId="37e0efa1-0107-4a6a-a201-5949a9329ddf" providerId="ADAL" clId="{596FC7B4-F06D-4FA3-AB02-D8CF3FE77682}" dt="2022-08-03T09:08:37.269" v="142" actId="47"/>
        <pc:sldMasterMkLst>
          <pc:docMk/>
          <pc:sldMasterMk cId="1537391827" sldId="2147484169"/>
        </pc:sldMasterMkLst>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581853812" sldId="2147484170"/>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2331612363" sldId="2147484171"/>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916738618" sldId="2147484172"/>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708509303" sldId="2147484173"/>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1386277977" sldId="2147484174"/>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3864553455" sldId="2147484175"/>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3302753031" sldId="2147484176"/>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3699805974" sldId="2147484177"/>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2565133384" sldId="2147484178"/>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784792868" sldId="2147484179"/>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2934109050" sldId="2147484180"/>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1864948956" sldId="2147484181"/>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2006562864" sldId="2147484182"/>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1564058180" sldId="2147484183"/>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852081041" sldId="2147484184"/>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4107539309" sldId="2147484185"/>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3297210572" sldId="2147484186"/>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353298982" sldId="2147484187"/>
          </pc:sldLayoutMkLst>
        </pc:sldLayoutChg>
        <pc:sldLayoutChg chg="del">
          <pc:chgData name="O'Hagan. Sinead (Contractor - Ernst &amp; Young)" userId="37e0efa1-0107-4a6a-a201-5949a9329ddf" providerId="ADAL" clId="{596FC7B4-F06D-4FA3-AB02-D8CF3FE77682}" dt="2022-08-03T09:08:37.269" v="142" actId="47"/>
          <pc:sldLayoutMkLst>
            <pc:docMk/>
            <pc:sldMasterMk cId="1537391827" sldId="2147484169"/>
            <pc:sldLayoutMk cId="780358007" sldId="2147484242"/>
          </pc:sldLayoutMkLst>
        </pc:sldLayoutChg>
      </pc:sldMasterChg>
    </pc:docChg>
  </pc:docChgLst>
  <pc:docChgLst>
    <pc:chgData name="Corcoran. Emer (ESB Networks)" userId="S::emer.corcoran@esb.ie::be6c6ed3-1caa-45fc-aff4-32e0fc3d4911" providerId="AD" clId="Web-{9F63B3E9-6050-1DA4-E0E1-2B21B8BF58A9}"/>
    <pc:docChg chg="">
      <pc:chgData name="Corcoran. Emer (ESB Networks)" userId="S::emer.corcoran@esb.ie::be6c6ed3-1caa-45fc-aff4-32e0fc3d4911" providerId="AD" clId="Web-{9F63B3E9-6050-1DA4-E0E1-2B21B8BF58A9}" dt="2024-02-22T16:23:00.303" v="1"/>
      <pc:docMkLst>
        <pc:docMk/>
      </pc:docMkLst>
      <pc:sldChg chg="addCm">
        <pc:chgData name="Corcoran. Emer (ESB Networks)" userId="S::emer.corcoran@esb.ie::be6c6ed3-1caa-45fc-aff4-32e0fc3d4911" providerId="AD" clId="Web-{9F63B3E9-6050-1DA4-E0E1-2B21B8BF58A9}" dt="2024-02-22T16:23:00.303" v="1"/>
        <pc:sldMkLst>
          <pc:docMk/>
          <pc:sldMk cId="2678521947" sldId="257306"/>
        </pc:sldMkLst>
      </pc:sldChg>
      <pc:sldChg chg="modCm">
        <pc:chgData name="Corcoran. Emer (ESB Networks)" userId="S::emer.corcoran@esb.ie::be6c6ed3-1caa-45fc-aff4-32e0fc3d4911" providerId="AD" clId="Web-{9F63B3E9-6050-1DA4-E0E1-2B21B8BF58A9}" dt="2024-02-22T16:18:24.872" v="0"/>
        <pc:sldMkLst>
          <pc:docMk/>
          <pc:sldMk cId="869737009" sldId="257308"/>
        </pc:sldMkLst>
      </pc:sldChg>
    </pc:docChg>
  </pc:docChgLst>
  <pc:docChgLst>
    <pc:chgData name="Power. Damien (Contractor - EY)" userId="a1f4b3c0-1096-4948-b5f9-75b086acdda0" providerId="ADAL" clId="{6DD24EEC-A1DB-45EE-9823-CEE64458C8FB}"/>
    <pc:docChg chg="modSld">
      <pc:chgData name="Power. Damien (Contractor - EY)" userId="a1f4b3c0-1096-4948-b5f9-75b086acdda0" providerId="ADAL" clId="{6DD24EEC-A1DB-45EE-9823-CEE64458C8FB}" dt="2024-02-12T09:26:28.822" v="41" actId="208"/>
      <pc:docMkLst>
        <pc:docMk/>
      </pc:docMkLst>
      <pc:sldChg chg="addSp modSp mod">
        <pc:chgData name="Power. Damien (Contractor - EY)" userId="a1f4b3c0-1096-4948-b5f9-75b086acdda0" providerId="ADAL" clId="{6DD24EEC-A1DB-45EE-9823-CEE64458C8FB}" dt="2024-02-12T09:26:28.822" v="41" actId="208"/>
        <pc:sldMkLst>
          <pc:docMk/>
          <pc:sldMk cId="869737009" sldId="257308"/>
        </pc:sldMkLst>
        <pc:spChg chg="mod">
          <ac:chgData name="Power. Damien (Contractor - EY)" userId="a1f4b3c0-1096-4948-b5f9-75b086acdda0" providerId="ADAL" clId="{6DD24EEC-A1DB-45EE-9823-CEE64458C8FB}" dt="2024-02-12T09:26:17.103" v="38" actId="1076"/>
          <ac:spMkLst>
            <pc:docMk/>
            <pc:sldMk cId="869737009" sldId="257308"/>
            <ac:spMk id="11" creationId="{21D76DC2-1624-48F9-89BF-C18FC670CAD1}"/>
          </ac:spMkLst>
        </pc:spChg>
        <pc:spChg chg="mod">
          <ac:chgData name="Power. Damien (Contractor - EY)" userId="a1f4b3c0-1096-4948-b5f9-75b086acdda0" providerId="ADAL" clId="{6DD24EEC-A1DB-45EE-9823-CEE64458C8FB}" dt="2024-02-12T09:26:28.822" v="41" actId="208"/>
          <ac:spMkLst>
            <pc:docMk/>
            <pc:sldMk cId="869737009" sldId="257308"/>
            <ac:spMk id="19" creationId="{63C0DE80-2F33-5F48-F99B-1C731E38A475}"/>
          </ac:spMkLst>
        </pc:spChg>
        <pc:spChg chg="mod">
          <ac:chgData name="Power. Damien (Contractor - EY)" userId="a1f4b3c0-1096-4948-b5f9-75b086acdda0" providerId="ADAL" clId="{6DD24EEC-A1DB-45EE-9823-CEE64458C8FB}" dt="2024-02-12T09:26:28.822" v="41" actId="208"/>
          <ac:spMkLst>
            <pc:docMk/>
            <pc:sldMk cId="869737009" sldId="257308"/>
            <ac:spMk id="55" creationId="{340D3FFB-3D4E-033F-F921-EB3D88D0712C}"/>
          </ac:spMkLst>
        </pc:spChg>
        <pc:grpChg chg="add mod">
          <ac:chgData name="Power. Damien (Contractor - EY)" userId="a1f4b3c0-1096-4948-b5f9-75b086acdda0" providerId="ADAL" clId="{6DD24EEC-A1DB-45EE-9823-CEE64458C8FB}" dt="2024-02-12T09:26:22.131" v="39" actId="207"/>
          <ac:grpSpMkLst>
            <pc:docMk/>
            <pc:sldMk cId="869737009" sldId="257308"/>
            <ac:grpSpMk id="17" creationId="{BF03595B-2F0C-038F-EEBB-86C840B37F17}"/>
          </ac:grpSpMkLst>
        </pc:grpChg>
      </pc:sldChg>
    </pc:docChg>
  </pc:docChgLst>
  <pc:docChgLst>
    <pc:chgData name="O'Hagan. Sinead (Contractor - Ernst &amp; Young)" userId="37e0efa1-0107-4a6a-a201-5949a9329ddf" providerId="ADAL" clId="{2189CCBA-9B7A-4808-86F0-99A1C6DA495A}"/>
    <pc:docChg chg="modSld">
      <pc:chgData name="O'Hagan. Sinead (Contractor - Ernst &amp; Young)" userId="37e0efa1-0107-4a6a-a201-5949a9329ddf" providerId="ADAL" clId="{2189CCBA-9B7A-4808-86F0-99A1C6DA495A}" dt="2022-08-18T07:12:12.097" v="47" actId="20577"/>
      <pc:docMkLst>
        <pc:docMk/>
      </pc:docMkLst>
      <pc:sldChg chg="modSp mod">
        <pc:chgData name="O'Hagan. Sinead (Contractor - Ernst &amp; Young)" userId="37e0efa1-0107-4a6a-a201-5949a9329ddf" providerId="ADAL" clId="{2189CCBA-9B7A-4808-86F0-99A1C6DA495A}" dt="2022-08-18T07:10:44.685" v="10" actId="13926"/>
        <pc:sldMkLst>
          <pc:docMk/>
          <pc:sldMk cId="2678521947" sldId="257306"/>
        </pc:sldMkLst>
        <pc:spChg chg="mod">
          <ac:chgData name="O'Hagan. Sinead (Contractor - Ernst &amp; Young)" userId="37e0efa1-0107-4a6a-a201-5949a9329ddf" providerId="ADAL" clId="{2189CCBA-9B7A-4808-86F0-99A1C6DA495A}" dt="2022-08-18T07:10:44.685" v="10" actId="13926"/>
          <ac:spMkLst>
            <pc:docMk/>
            <pc:sldMk cId="2678521947" sldId="257306"/>
            <ac:spMk id="4" creationId="{41825E9A-DF3E-44B2-A2BB-5D3F04B1C432}"/>
          </ac:spMkLst>
        </pc:spChg>
      </pc:sldChg>
      <pc:sldChg chg="modSp mod">
        <pc:chgData name="O'Hagan. Sinead (Contractor - Ernst &amp; Young)" userId="37e0efa1-0107-4a6a-a201-5949a9329ddf" providerId="ADAL" clId="{2189CCBA-9B7A-4808-86F0-99A1C6DA495A}" dt="2022-08-18T07:12:12.097" v="47" actId="20577"/>
        <pc:sldMkLst>
          <pc:docMk/>
          <pc:sldMk cId="197788441" sldId="257307"/>
        </pc:sldMkLst>
        <pc:spChg chg="mod">
          <ac:chgData name="O'Hagan. Sinead (Contractor - Ernst &amp; Young)" userId="37e0efa1-0107-4a6a-a201-5949a9329ddf" providerId="ADAL" clId="{2189CCBA-9B7A-4808-86F0-99A1C6DA495A}" dt="2022-08-18T07:12:12.097" v="47" actId="20577"/>
          <ac:spMkLst>
            <pc:docMk/>
            <pc:sldMk cId="197788441" sldId="257307"/>
            <ac:spMk id="4" creationId="{41825E9A-DF3E-44B2-A2BB-5D3F04B1C432}"/>
          </ac:spMkLst>
        </pc:spChg>
      </pc:sldChg>
    </pc:docChg>
  </pc:docChgLst>
  <pc:docChgLst>
    <pc:chgData name="Power. Damien (Contractor - EY)" userId="a1f4b3c0-1096-4948-b5f9-75b086acdda0" providerId="ADAL" clId="{92578BC4-9510-477F-B184-1BC057E5638E}"/>
    <pc:docChg chg="custSel modSld">
      <pc:chgData name="Power. Damien (Contractor - EY)" userId="a1f4b3c0-1096-4948-b5f9-75b086acdda0" providerId="ADAL" clId="{92578BC4-9510-477F-B184-1BC057E5638E}" dt="2024-02-22T10:44:04.471" v="82" actId="6549"/>
      <pc:docMkLst>
        <pc:docMk/>
      </pc:docMkLst>
      <pc:sldChg chg="modSp mod">
        <pc:chgData name="Power. Damien (Contractor - EY)" userId="a1f4b3c0-1096-4948-b5f9-75b086acdda0" providerId="ADAL" clId="{92578BC4-9510-477F-B184-1BC057E5638E}" dt="2024-02-22T10:44:04.471" v="82" actId="6549"/>
        <pc:sldMkLst>
          <pc:docMk/>
          <pc:sldMk cId="4083202202" sldId="1263"/>
        </pc:sldMkLst>
        <pc:spChg chg="mod">
          <ac:chgData name="Power. Damien (Contractor - EY)" userId="a1f4b3c0-1096-4948-b5f9-75b086acdda0" providerId="ADAL" clId="{92578BC4-9510-477F-B184-1BC057E5638E}" dt="2024-02-22T10:44:04.471" v="82" actId="6549"/>
          <ac:spMkLst>
            <pc:docMk/>
            <pc:sldMk cId="4083202202" sldId="1263"/>
            <ac:spMk id="4" creationId="{18A7FD6C-669C-49E2-8A61-FFF2CD66CFFE}"/>
          </ac:spMkLst>
        </pc:spChg>
        <pc:spChg chg="mod">
          <ac:chgData name="Power. Damien (Contractor - EY)" userId="a1f4b3c0-1096-4948-b5f9-75b086acdda0" providerId="ADAL" clId="{92578BC4-9510-477F-B184-1BC057E5638E}" dt="2024-02-22T10:42:49.264" v="17" actId="20577"/>
          <ac:spMkLst>
            <pc:docMk/>
            <pc:sldMk cId="4083202202" sldId="1263"/>
            <ac:spMk id="7" creationId="{A2A8F692-D027-40EA-BAA7-5DBCE4BB831E}"/>
          </ac:spMkLst>
        </pc:spChg>
      </pc:sldChg>
      <pc:sldChg chg="modSp mod">
        <pc:chgData name="Power. Damien (Contractor - EY)" userId="a1f4b3c0-1096-4948-b5f9-75b086acdda0" providerId="ADAL" clId="{92578BC4-9510-477F-B184-1BC057E5638E}" dt="2024-02-22T10:43:08.465" v="35" actId="20577"/>
        <pc:sldMkLst>
          <pc:docMk/>
          <pc:sldMk cId="2678521947" sldId="257306"/>
        </pc:sldMkLst>
        <pc:spChg chg="mod">
          <ac:chgData name="Power. Damien (Contractor - EY)" userId="a1f4b3c0-1096-4948-b5f9-75b086acdda0" providerId="ADAL" clId="{92578BC4-9510-477F-B184-1BC057E5638E}" dt="2024-02-22T10:43:08.465" v="35" actId="20577"/>
          <ac:spMkLst>
            <pc:docMk/>
            <pc:sldMk cId="2678521947" sldId="257306"/>
            <ac:spMk id="4" creationId="{41825E9A-DF3E-44B2-A2BB-5D3F04B1C432}"/>
          </ac:spMkLst>
        </pc:spChg>
      </pc:sldChg>
      <pc:sldChg chg="modSp mod">
        <pc:chgData name="Power. Damien (Contractor - EY)" userId="a1f4b3c0-1096-4948-b5f9-75b086acdda0" providerId="ADAL" clId="{92578BC4-9510-477F-B184-1BC057E5638E}" dt="2024-02-22T10:43:24.262" v="37" actId="20577"/>
        <pc:sldMkLst>
          <pc:docMk/>
          <pc:sldMk cId="197788441" sldId="257307"/>
        </pc:sldMkLst>
        <pc:spChg chg="mod">
          <ac:chgData name="Power. Damien (Contractor - EY)" userId="a1f4b3c0-1096-4948-b5f9-75b086acdda0" providerId="ADAL" clId="{92578BC4-9510-477F-B184-1BC057E5638E}" dt="2024-02-22T10:43:24.262" v="37" actId="20577"/>
          <ac:spMkLst>
            <pc:docMk/>
            <pc:sldMk cId="197788441" sldId="257307"/>
            <ac:spMk id="4" creationId="{41825E9A-DF3E-44B2-A2BB-5D3F04B1C432}"/>
          </ac:spMkLst>
        </pc:spChg>
      </pc:sldChg>
      <pc:sldChg chg="delSp modSp mod">
        <pc:chgData name="Power. Damien (Contractor - EY)" userId="a1f4b3c0-1096-4948-b5f9-75b086acdda0" providerId="ADAL" clId="{92578BC4-9510-477F-B184-1BC057E5638E}" dt="2024-02-22T10:43:55.316" v="80" actId="1038"/>
        <pc:sldMkLst>
          <pc:docMk/>
          <pc:sldMk cId="869737009" sldId="257308"/>
        </pc:sldMkLst>
        <pc:spChg chg="mod">
          <ac:chgData name="Power. Damien (Contractor - EY)" userId="a1f4b3c0-1096-4948-b5f9-75b086acdda0" providerId="ADAL" clId="{92578BC4-9510-477F-B184-1BC057E5638E}" dt="2024-02-22T10:43:48.023" v="65" actId="1076"/>
          <ac:spMkLst>
            <pc:docMk/>
            <pc:sldMk cId="869737009" sldId="257308"/>
            <ac:spMk id="11" creationId="{21D76DC2-1624-48F9-89BF-C18FC670CAD1}"/>
          </ac:spMkLst>
        </pc:spChg>
        <pc:spChg chg="del">
          <ac:chgData name="Power. Damien (Contractor - EY)" userId="a1f4b3c0-1096-4948-b5f9-75b086acdda0" providerId="ADAL" clId="{92578BC4-9510-477F-B184-1BC057E5638E}" dt="2024-02-22T10:43:49.581" v="66" actId="478"/>
          <ac:spMkLst>
            <pc:docMk/>
            <pc:sldMk cId="869737009" sldId="257308"/>
            <ac:spMk id="29" creationId="{EEC88EF4-5B46-40D5-B4DC-20C23D2FED71}"/>
          </ac:spMkLst>
        </pc:spChg>
        <pc:grpChg chg="mod">
          <ac:chgData name="Power. Damien (Contractor - EY)" userId="a1f4b3c0-1096-4948-b5f9-75b086acdda0" providerId="ADAL" clId="{92578BC4-9510-477F-B184-1BC057E5638E}" dt="2024-02-22T10:43:55.316" v="80" actId="1038"/>
          <ac:grpSpMkLst>
            <pc:docMk/>
            <pc:sldMk cId="869737009" sldId="257308"/>
            <ac:grpSpMk id="4" creationId="{2F9BAE89-2A14-4432-8826-56B468238900}"/>
          </ac:grpSpMkLst>
        </pc:grpChg>
        <pc:grpChg chg="del">
          <ac:chgData name="Power. Damien (Contractor - EY)" userId="a1f4b3c0-1096-4948-b5f9-75b086acdda0" providerId="ADAL" clId="{92578BC4-9510-477F-B184-1BC057E5638E}" dt="2024-02-22T10:43:34.041" v="38" actId="478"/>
          <ac:grpSpMkLst>
            <pc:docMk/>
            <pc:sldMk cId="869737009" sldId="257308"/>
            <ac:grpSpMk id="17" creationId="{BF03595B-2F0C-038F-EEBB-86C840B37F17}"/>
          </ac:grpSpMkLst>
        </pc:grpChg>
        <pc:grpChg chg="mod">
          <ac:chgData name="Power. Damien (Contractor - EY)" userId="a1f4b3c0-1096-4948-b5f9-75b086acdda0" providerId="ADAL" clId="{92578BC4-9510-477F-B184-1BC057E5638E}" dt="2024-02-22T10:43:40.383" v="64" actId="1038"/>
          <ac:grpSpMkLst>
            <pc:docMk/>
            <pc:sldMk cId="869737009" sldId="257308"/>
            <ac:grpSpMk id="27" creationId="{4F1323D7-D6BB-5AEE-ECE3-2903D966FCFF}"/>
          </ac:grpSpMkLst>
        </pc:grpChg>
      </pc:sldChg>
    </pc:docChg>
  </pc:docChgLst>
  <pc:docChgLst>
    <pc:chgData name="Power. Damien (Contractor - EY)" userId="a1f4b3c0-1096-4948-b5f9-75b086acdda0" providerId="ADAL" clId="{852EEEF3-6C40-4BB4-BCF9-2A1F563A8D5D}"/>
    <pc:docChg chg="modSld">
      <pc:chgData name="Power. Damien (Contractor - EY)" userId="a1f4b3c0-1096-4948-b5f9-75b086acdda0" providerId="ADAL" clId="{852EEEF3-6C40-4BB4-BCF9-2A1F563A8D5D}" dt="2024-03-01T16:02:13.673" v="18" actId="1038"/>
      <pc:docMkLst>
        <pc:docMk/>
      </pc:docMkLst>
      <pc:sldChg chg="modSp mod">
        <pc:chgData name="Power. Damien (Contractor - EY)" userId="a1f4b3c0-1096-4948-b5f9-75b086acdda0" providerId="ADAL" clId="{852EEEF3-6C40-4BB4-BCF9-2A1F563A8D5D}" dt="2024-03-01T16:01:55.789" v="5" actId="20577"/>
        <pc:sldMkLst>
          <pc:docMk/>
          <pc:sldMk cId="4083202202" sldId="1263"/>
        </pc:sldMkLst>
        <pc:spChg chg="mod">
          <ac:chgData name="Power. Damien (Contractor - EY)" userId="a1f4b3c0-1096-4948-b5f9-75b086acdda0" providerId="ADAL" clId="{852EEEF3-6C40-4BB4-BCF9-2A1F563A8D5D}" dt="2024-03-01T16:01:55.789" v="5" actId="20577"/>
          <ac:spMkLst>
            <pc:docMk/>
            <pc:sldMk cId="4083202202" sldId="1263"/>
            <ac:spMk id="7" creationId="{A2A8F692-D027-40EA-BAA7-5DBCE4BB831E}"/>
          </ac:spMkLst>
        </pc:spChg>
      </pc:sldChg>
      <pc:sldChg chg="modSp mod">
        <pc:chgData name="Power. Damien (Contractor - EY)" userId="a1f4b3c0-1096-4948-b5f9-75b086acdda0" providerId="ADAL" clId="{852EEEF3-6C40-4BB4-BCF9-2A1F563A8D5D}" dt="2024-03-01T16:02:13.673" v="18" actId="1038"/>
        <pc:sldMkLst>
          <pc:docMk/>
          <pc:sldMk cId="3704071719" sldId="257309"/>
        </pc:sldMkLst>
        <pc:spChg chg="mod">
          <ac:chgData name="Power. Damien (Contractor - EY)" userId="a1f4b3c0-1096-4948-b5f9-75b086acdda0" providerId="ADAL" clId="{852EEEF3-6C40-4BB4-BCF9-2A1F563A8D5D}" dt="2024-03-01T16:02:10.007" v="11" actId="20577"/>
          <ac:spMkLst>
            <pc:docMk/>
            <pc:sldMk cId="3704071719" sldId="257309"/>
            <ac:spMk id="12" creationId="{BF197A6C-E43C-443B-999F-EAF9324CB1F8}"/>
          </ac:spMkLst>
        </pc:spChg>
        <pc:grpChg chg="mod">
          <ac:chgData name="Power. Damien (Contractor - EY)" userId="a1f4b3c0-1096-4948-b5f9-75b086acdda0" providerId="ADAL" clId="{852EEEF3-6C40-4BB4-BCF9-2A1F563A8D5D}" dt="2024-03-01T16:02:13.673" v="18" actId="1038"/>
          <ac:grpSpMkLst>
            <pc:docMk/>
            <pc:sldMk cId="3704071719" sldId="257309"/>
            <ac:grpSpMk id="4" creationId="{2F9BAE89-2A14-4432-8826-56B468238900}"/>
          </ac:grpSpMkLst>
        </pc:grpChg>
      </pc:sldChg>
      <pc:sldChg chg="modCm">
        <pc:chgData name="Power. Damien (Contractor - EY)" userId="a1f4b3c0-1096-4948-b5f9-75b086acdda0" providerId="ADAL" clId="{852EEEF3-6C40-4BB4-BCF9-2A1F563A8D5D}" dt="2024-03-01T12:29:10.296" v="0"/>
        <pc:sldMkLst>
          <pc:docMk/>
          <pc:sldMk cId="2445383505" sldId="257310"/>
        </pc:sldMkLst>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852EEEF3-6C40-4BB4-BCF9-2A1F563A8D5D}" dt="2024-03-01T12:29:10.296" v="0"/>
              <pc2:cmMkLst xmlns:pc2="http://schemas.microsoft.com/office/powerpoint/2019/9/main/command">
                <pc:docMk/>
                <pc:sldMk cId="2445383505" sldId="257310"/>
                <pc2:cmMk id="{AEE34034-3DBD-4B5C-89E9-39B9EBE3BFFE}"/>
              </pc2:cmMkLst>
            </pc226:cmChg>
          </p:ext>
        </pc:extLst>
      </pc:sldChg>
    </pc:docChg>
  </pc:docChgLst>
  <pc:docChgLst>
    <pc:chgData name="Power. Damien (Contractor - EY)" userId="a1f4b3c0-1096-4948-b5f9-75b086acdda0" providerId="ADAL" clId="{EDF96078-3392-42F2-AE5B-9668FBBBEB5E}"/>
    <pc:docChg chg="undo custSel modSld">
      <pc:chgData name="Power. Damien (Contractor - EY)" userId="a1f4b3c0-1096-4948-b5f9-75b086acdda0" providerId="ADAL" clId="{EDF96078-3392-42F2-AE5B-9668FBBBEB5E}" dt="2023-08-31T10:54:30.556" v="68" actId="1076"/>
      <pc:docMkLst>
        <pc:docMk/>
      </pc:docMkLst>
      <pc:sldChg chg="addSp modSp mod">
        <pc:chgData name="Power. Damien (Contractor - EY)" userId="a1f4b3c0-1096-4948-b5f9-75b086acdda0" providerId="ADAL" clId="{EDF96078-3392-42F2-AE5B-9668FBBBEB5E}" dt="2023-08-31T10:54:30.556" v="68" actId="1076"/>
        <pc:sldMkLst>
          <pc:docMk/>
          <pc:sldMk cId="869737009" sldId="257308"/>
        </pc:sldMkLst>
        <pc:spChg chg="mod">
          <ac:chgData name="Power. Damien (Contractor - EY)" userId="a1f4b3c0-1096-4948-b5f9-75b086acdda0" providerId="ADAL" clId="{EDF96078-3392-42F2-AE5B-9668FBBBEB5E}" dt="2023-08-31T10:53:28.010" v="66" actId="20577"/>
          <ac:spMkLst>
            <pc:docMk/>
            <pc:sldMk cId="869737009" sldId="257308"/>
            <ac:spMk id="12" creationId="{BF197A6C-E43C-443B-999F-EAF9324CB1F8}"/>
          </ac:spMkLst>
        </pc:spChg>
        <pc:spChg chg="mod">
          <ac:chgData name="Power. Damien (Contractor - EY)" userId="a1f4b3c0-1096-4948-b5f9-75b086acdda0" providerId="ADAL" clId="{EDF96078-3392-42F2-AE5B-9668FBBBEB5E}" dt="2023-08-31T10:53:15.548" v="62" actId="1076"/>
          <ac:spMkLst>
            <pc:docMk/>
            <pc:sldMk cId="869737009" sldId="257308"/>
            <ac:spMk id="36" creationId="{B4231A80-A44C-AABC-585E-F2542B39B6AF}"/>
          </ac:spMkLst>
        </pc:spChg>
        <pc:spChg chg="mod">
          <ac:chgData name="Power. Damien (Contractor - EY)" userId="a1f4b3c0-1096-4948-b5f9-75b086acdda0" providerId="ADAL" clId="{EDF96078-3392-42F2-AE5B-9668FBBBEB5E}" dt="2023-08-31T10:52:00.061" v="0"/>
          <ac:spMkLst>
            <pc:docMk/>
            <pc:sldMk cId="869737009" sldId="257308"/>
            <ac:spMk id="52" creationId="{7961B0B5-5DB2-0933-3AFA-484F1A0EF823}"/>
          </ac:spMkLst>
        </pc:spChg>
        <pc:spChg chg="mod">
          <ac:chgData name="Power. Damien (Contractor - EY)" userId="a1f4b3c0-1096-4948-b5f9-75b086acdda0" providerId="ADAL" clId="{EDF96078-3392-42F2-AE5B-9668FBBBEB5E}" dt="2023-08-31T10:53:12.093" v="61" actId="14100"/>
          <ac:spMkLst>
            <pc:docMk/>
            <pc:sldMk cId="869737009" sldId="257308"/>
            <ac:spMk id="54" creationId="{7C6AC240-E5DB-3F82-0B08-B67BEE3964DC}"/>
          </ac:spMkLst>
        </pc:spChg>
        <pc:spChg chg="mod">
          <ac:chgData name="Power. Damien (Contractor - EY)" userId="a1f4b3c0-1096-4948-b5f9-75b086acdda0" providerId="ADAL" clId="{EDF96078-3392-42F2-AE5B-9668FBBBEB5E}" dt="2023-08-31T10:52:46.339" v="36"/>
          <ac:spMkLst>
            <pc:docMk/>
            <pc:sldMk cId="869737009" sldId="257308"/>
            <ac:spMk id="58" creationId="{70573BC5-470F-2043-5C9D-4B5AB295FF23}"/>
          </ac:spMkLst>
        </pc:spChg>
        <pc:grpChg chg="mod">
          <ac:chgData name="Power. Damien (Contractor - EY)" userId="a1f4b3c0-1096-4948-b5f9-75b086acdda0" providerId="ADAL" clId="{EDF96078-3392-42F2-AE5B-9668FBBBEB5E}" dt="2023-08-31T10:53:25.706" v="63" actId="1076"/>
          <ac:grpSpMkLst>
            <pc:docMk/>
            <pc:sldMk cId="869737009" sldId="257308"/>
            <ac:grpSpMk id="4" creationId="{2F9BAE89-2A14-4432-8826-56B468238900}"/>
          </ac:grpSpMkLst>
        </pc:grpChg>
        <pc:grpChg chg="add mod">
          <ac:chgData name="Power. Damien (Contractor - EY)" userId="a1f4b3c0-1096-4948-b5f9-75b086acdda0" providerId="ADAL" clId="{EDF96078-3392-42F2-AE5B-9668FBBBEB5E}" dt="2023-08-31T10:52:35.789" v="33" actId="14100"/>
          <ac:grpSpMkLst>
            <pc:docMk/>
            <pc:sldMk cId="869737009" sldId="257308"/>
            <ac:grpSpMk id="33" creationId="{E6EDFB44-838C-1F8B-10C5-9B9AD63975B1}"/>
          </ac:grpSpMkLst>
        </pc:grpChg>
        <pc:grpChg chg="add mod">
          <ac:chgData name="Power. Damien (Contractor - EY)" userId="a1f4b3c0-1096-4948-b5f9-75b086acdda0" providerId="ADAL" clId="{EDF96078-3392-42F2-AE5B-9668FBBBEB5E}" dt="2023-08-31T10:54:30.556" v="68" actId="1076"/>
          <ac:grpSpMkLst>
            <pc:docMk/>
            <pc:sldMk cId="869737009" sldId="257308"/>
            <ac:grpSpMk id="53" creationId="{C101369C-7DFB-FBD3-5D72-35AB7BE3D53C}"/>
          </ac:grpSpMkLst>
        </pc:grpChg>
        <pc:cxnChg chg="mod">
          <ac:chgData name="Power. Damien (Contractor - EY)" userId="a1f4b3c0-1096-4948-b5f9-75b086acdda0" providerId="ADAL" clId="{EDF96078-3392-42F2-AE5B-9668FBBBEB5E}" dt="2023-08-31T10:53:41.015" v="67" actId="693"/>
          <ac:cxnSpMkLst>
            <pc:docMk/>
            <pc:sldMk cId="869737009" sldId="257308"/>
            <ac:cxnSpMk id="15" creationId="{8DFEC1C8-FB51-43A9-9084-07F73B632638}"/>
          </ac:cxnSpMkLst>
        </pc:cxnChg>
      </pc:sldChg>
    </pc:docChg>
  </pc:docChgLst>
  <pc:docChgLst>
    <pc:chgData name="Power. Damien (Contractor - EY)" userId="a1f4b3c0-1096-4948-b5f9-75b086acdda0" providerId="ADAL" clId="{E1DDEAF9-6376-4278-A13F-9C9AF4225007}"/>
    <pc:docChg chg="undo custSel modSld">
      <pc:chgData name="Power. Damien (Contractor - EY)" userId="a1f4b3c0-1096-4948-b5f9-75b086acdda0" providerId="ADAL" clId="{E1DDEAF9-6376-4278-A13F-9C9AF4225007}" dt="2023-10-10T08:07:41.765" v="439" actId="20577"/>
      <pc:docMkLst>
        <pc:docMk/>
      </pc:docMkLst>
      <pc:sldChg chg="modSp mod">
        <pc:chgData name="Power. Damien (Contractor - EY)" userId="a1f4b3c0-1096-4948-b5f9-75b086acdda0" providerId="ADAL" clId="{E1DDEAF9-6376-4278-A13F-9C9AF4225007}" dt="2023-10-10T08:02:29.365" v="18" actId="20577"/>
        <pc:sldMkLst>
          <pc:docMk/>
          <pc:sldMk cId="4083202202" sldId="1263"/>
        </pc:sldMkLst>
        <pc:spChg chg="mod">
          <ac:chgData name="Power. Damien (Contractor - EY)" userId="a1f4b3c0-1096-4948-b5f9-75b086acdda0" providerId="ADAL" clId="{E1DDEAF9-6376-4278-A13F-9C9AF4225007}" dt="2023-10-10T08:02:29.365" v="18" actId="20577"/>
          <ac:spMkLst>
            <pc:docMk/>
            <pc:sldMk cId="4083202202" sldId="1263"/>
            <ac:spMk id="4" creationId="{18A7FD6C-669C-49E2-8A61-FFF2CD66CFFE}"/>
          </ac:spMkLst>
        </pc:spChg>
        <pc:spChg chg="mod">
          <ac:chgData name="Power. Damien (Contractor - EY)" userId="a1f4b3c0-1096-4948-b5f9-75b086acdda0" providerId="ADAL" clId="{E1DDEAF9-6376-4278-A13F-9C9AF4225007}" dt="2023-10-10T08:02:21.052" v="6" actId="20577"/>
          <ac:spMkLst>
            <pc:docMk/>
            <pc:sldMk cId="4083202202" sldId="1263"/>
            <ac:spMk id="7" creationId="{A2A8F692-D027-40EA-BAA7-5DBCE4BB831E}"/>
          </ac:spMkLst>
        </pc:spChg>
      </pc:sldChg>
      <pc:sldChg chg="addSp delSp modSp mod modCm">
        <pc:chgData name="Power. Damien (Contractor - EY)" userId="a1f4b3c0-1096-4948-b5f9-75b086acdda0" providerId="ADAL" clId="{E1DDEAF9-6376-4278-A13F-9C9AF4225007}" dt="2023-10-10T08:07:41.765" v="439" actId="20577"/>
        <pc:sldMkLst>
          <pc:docMk/>
          <pc:sldMk cId="869737009" sldId="257308"/>
        </pc:sldMkLst>
        <pc:spChg chg="mod">
          <ac:chgData name="Power. Damien (Contractor - EY)" userId="a1f4b3c0-1096-4948-b5f9-75b086acdda0" providerId="ADAL" clId="{E1DDEAF9-6376-4278-A13F-9C9AF4225007}" dt="2023-10-10T08:06:15.887" v="284" actId="1076"/>
          <ac:spMkLst>
            <pc:docMk/>
            <pc:sldMk cId="869737009" sldId="257308"/>
            <ac:spMk id="2" creationId="{C6DCFC3A-B2E8-4F48-8027-60CD710926B0}"/>
          </ac:spMkLst>
        </pc:spChg>
        <pc:spChg chg="mod">
          <ac:chgData name="Power. Damien (Contractor - EY)" userId="a1f4b3c0-1096-4948-b5f9-75b086acdda0" providerId="ADAL" clId="{E1DDEAF9-6376-4278-A13F-9C9AF4225007}" dt="2023-10-10T08:07:41.765" v="439" actId="20577"/>
          <ac:spMkLst>
            <pc:docMk/>
            <pc:sldMk cId="869737009" sldId="257308"/>
            <ac:spMk id="12" creationId="{BF197A6C-E43C-443B-999F-EAF9324CB1F8}"/>
          </ac:spMkLst>
        </pc:spChg>
        <pc:spChg chg="del mod">
          <ac:chgData name="Power. Damien (Contractor - EY)" userId="a1f4b3c0-1096-4948-b5f9-75b086acdda0" providerId="ADAL" clId="{E1DDEAF9-6376-4278-A13F-9C9AF4225007}" dt="2023-10-10T08:05:19.944" v="259" actId="478"/>
          <ac:spMkLst>
            <pc:docMk/>
            <pc:sldMk cId="869737009" sldId="257308"/>
            <ac:spMk id="17" creationId="{FE6B5B2C-A55E-4021-8CAA-2F655FCF6E6B}"/>
          </ac:spMkLst>
        </pc:spChg>
        <pc:spChg chg="mod">
          <ac:chgData name="Power. Damien (Contractor - EY)" userId="a1f4b3c0-1096-4948-b5f9-75b086acdda0" providerId="ADAL" clId="{E1DDEAF9-6376-4278-A13F-9C9AF4225007}" dt="2023-10-10T08:05:15.974" v="256" actId="164"/>
          <ac:spMkLst>
            <pc:docMk/>
            <pc:sldMk cId="869737009" sldId="257308"/>
            <ac:spMk id="18" creationId="{906BE913-649E-4C35-AE3C-1060CC3002B6}"/>
          </ac:spMkLst>
        </pc:spChg>
        <pc:spChg chg="del">
          <ac:chgData name="Power. Damien (Contractor - EY)" userId="a1f4b3c0-1096-4948-b5f9-75b086acdda0" providerId="ADAL" clId="{E1DDEAF9-6376-4278-A13F-9C9AF4225007}" dt="2023-10-10T08:05:21.675" v="261" actId="478"/>
          <ac:spMkLst>
            <pc:docMk/>
            <pc:sldMk cId="869737009" sldId="257308"/>
            <ac:spMk id="19" creationId="{2C428A18-266C-4C5E-A49D-FD027D84F781}"/>
          </ac:spMkLst>
        </pc:spChg>
        <pc:spChg chg="add mod">
          <ac:chgData name="Power. Damien (Contractor - EY)" userId="a1f4b3c0-1096-4948-b5f9-75b086acdda0" providerId="ADAL" clId="{E1DDEAF9-6376-4278-A13F-9C9AF4225007}" dt="2023-10-10T08:07:20.306" v="420" actId="1036"/>
          <ac:spMkLst>
            <pc:docMk/>
            <pc:sldMk cId="869737009" sldId="257308"/>
            <ac:spMk id="33" creationId="{6CAB5F38-8200-2FCE-1A00-60B5DDA717A6}"/>
          </ac:spMkLst>
        </pc:spChg>
        <pc:spChg chg="mod">
          <ac:chgData name="Power. Damien (Contractor - EY)" userId="a1f4b3c0-1096-4948-b5f9-75b086acdda0" providerId="ADAL" clId="{E1DDEAF9-6376-4278-A13F-9C9AF4225007}" dt="2023-10-10T08:02:54.321" v="19" actId="207"/>
          <ac:spMkLst>
            <pc:docMk/>
            <pc:sldMk cId="869737009" sldId="257308"/>
            <ac:spMk id="34" creationId="{E38D18BD-D7ED-4B6F-902C-236278FA0753}"/>
          </ac:spMkLst>
        </pc:spChg>
        <pc:spChg chg="add mod">
          <ac:chgData name="Power. Damien (Contractor - EY)" userId="a1f4b3c0-1096-4948-b5f9-75b086acdda0" providerId="ADAL" clId="{E1DDEAF9-6376-4278-A13F-9C9AF4225007}" dt="2023-10-10T08:05:15.974" v="256" actId="164"/>
          <ac:spMkLst>
            <pc:docMk/>
            <pc:sldMk cId="869737009" sldId="257308"/>
            <ac:spMk id="36" creationId="{29DFA5E3-7E20-D3B2-C72E-029E7FE2B4CD}"/>
          </ac:spMkLst>
        </pc:spChg>
        <pc:spChg chg="mod">
          <ac:chgData name="Power. Damien (Contractor - EY)" userId="a1f4b3c0-1096-4948-b5f9-75b086acdda0" providerId="ADAL" clId="{E1DDEAF9-6376-4278-A13F-9C9AF4225007}" dt="2023-10-10T08:05:28.752" v="262" actId="207"/>
          <ac:spMkLst>
            <pc:docMk/>
            <pc:sldMk cId="869737009" sldId="257308"/>
            <ac:spMk id="54" creationId="{87FFD506-8255-9F57-43DD-23E4A7015564}"/>
          </ac:spMkLst>
        </pc:spChg>
        <pc:spChg chg="del">
          <ac:chgData name="Power. Damien (Contractor - EY)" userId="a1f4b3c0-1096-4948-b5f9-75b086acdda0" providerId="ADAL" clId="{E1DDEAF9-6376-4278-A13F-9C9AF4225007}" dt="2023-10-10T08:05:21.103" v="260" actId="478"/>
          <ac:spMkLst>
            <pc:docMk/>
            <pc:sldMk cId="869737009" sldId="257308"/>
            <ac:spMk id="55" creationId="{2A85570D-26E0-4CAE-8D53-7FEF2BD30528}"/>
          </ac:spMkLst>
        </pc:spChg>
        <pc:spChg chg="mod">
          <ac:chgData name="Power. Damien (Contractor - EY)" userId="a1f4b3c0-1096-4948-b5f9-75b086acdda0" providerId="ADAL" clId="{E1DDEAF9-6376-4278-A13F-9C9AF4225007}" dt="2023-10-10T08:06:05.643" v="276" actId="20577"/>
          <ac:spMkLst>
            <pc:docMk/>
            <pc:sldMk cId="869737009" sldId="257308"/>
            <ac:spMk id="58" creationId="{D602CAA6-EF51-61F0-71B3-C471CA3470C5}"/>
          </ac:spMkLst>
        </pc:spChg>
        <pc:spChg chg="mod">
          <ac:chgData name="Power. Damien (Contractor - EY)" userId="a1f4b3c0-1096-4948-b5f9-75b086acdda0" providerId="ADAL" clId="{E1DDEAF9-6376-4278-A13F-9C9AF4225007}" dt="2023-10-10T08:05:34.419" v="263" actId="207"/>
          <ac:spMkLst>
            <pc:docMk/>
            <pc:sldMk cId="869737009" sldId="257308"/>
            <ac:spMk id="60" creationId="{3196FA77-F12B-3AC3-0C81-F0EB6A4C895B}"/>
          </ac:spMkLst>
        </pc:spChg>
        <pc:spChg chg="mod">
          <ac:chgData name="Power. Damien (Contractor - EY)" userId="a1f4b3c0-1096-4948-b5f9-75b086acdda0" providerId="ADAL" clId="{E1DDEAF9-6376-4278-A13F-9C9AF4225007}" dt="2023-10-10T08:06:10.246" v="283" actId="20577"/>
          <ac:spMkLst>
            <pc:docMk/>
            <pc:sldMk cId="869737009" sldId="257308"/>
            <ac:spMk id="61" creationId="{07F8AB4D-BB4E-46D1-4752-64DC836DB14E}"/>
          </ac:spMkLst>
        </pc:spChg>
        <pc:grpChg chg="mod">
          <ac:chgData name="Power. Damien (Contractor - EY)" userId="a1f4b3c0-1096-4948-b5f9-75b086acdda0" providerId="ADAL" clId="{E1DDEAF9-6376-4278-A13F-9C9AF4225007}" dt="2023-10-10T08:07:38.108" v="436" actId="1037"/>
          <ac:grpSpMkLst>
            <pc:docMk/>
            <pc:sldMk cId="869737009" sldId="257308"/>
            <ac:grpSpMk id="4" creationId="{2F9BAE89-2A14-4432-8826-56B468238900}"/>
          </ac:grpSpMkLst>
        </pc:grpChg>
        <pc:grpChg chg="add mod">
          <ac:chgData name="Power. Damien (Contractor - EY)" userId="a1f4b3c0-1096-4948-b5f9-75b086acdda0" providerId="ADAL" clId="{E1DDEAF9-6376-4278-A13F-9C9AF4225007}" dt="2023-10-10T08:07:11.332" v="390" actId="1038"/>
          <ac:grpSpMkLst>
            <pc:docMk/>
            <pc:sldMk cId="869737009" sldId="257308"/>
            <ac:grpSpMk id="52" creationId="{2019A708-AA7D-6A49-92BA-D68C83FCB640}"/>
          </ac:grpSpMkLst>
        </pc:grpChg>
        <pc:grpChg chg="add mod">
          <ac:chgData name="Power. Damien (Contractor - EY)" userId="a1f4b3c0-1096-4948-b5f9-75b086acdda0" providerId="ADAL" clId="{E1DDEAF9-6376-4278-A13F-9C9AF4225007}" dt="2023-10-10T08:06:56.862" v="368" actId="1035"/>
          <ac:grpSpMkLst>
            <pc:docMk/>
            <pc:sldMk cId="869737009" sldId="257308"/>
            <ac:grpSpMk id="53" creationId="{A6E3ED0E-F993-5CAA-6599-841C980E5A46}"/>
          </ac:grpSpMkLst>
        </pc:grpChg>
        <pc:grpChg chg="add mod">
          <ac:chgData name="Power. Damien (Contractor - EY)" userId="a1f4b3c0-1096-4948-b5f9-75b086acdda0" providerId="ADAL" clId="{E1DDEAF9-6376-4278-A13F-9C9AF4225007}" dt="2023-10-10T08:07:05.031" v="389" actId="1037"/>
          <ac:grpSpMkLst>
            <pc:docMk/>
            <pc:sldMk cId="869737009" sldId="257308"/>
            <ac:grpSpMk id="59" creationId="{15FB2010-D098-78B4-A727-7B87703EE274}"/>
          </ac:grpSpMkLst>
        </pc:grpChg>
      </pc:sldChg>
    </pc:docChg>
  </pc:docChgLst>
  <pc:docChgLst>
    <pc:chgData name="Corcoran. Emer (ESB Networks)" userId="S::emer.corcoran@esb.ie::be6c6ed3-1caa-45fc-aff4-32e0fc3d4911" providerId="AD" clId="Web-{CB06C874-D419-C98A-5299-7AC0A5A758B6}"/>
    <pc:docChg chg="">
      <pc:chgData name="Corcoran. Emer (ESB Networks)" userId="S::emer.corcoran@esb.ie::be6c6ed3-1caa-45fc-aff4-32e0fc3d4911" providerId="AD" clId="Web-{CB06C874-D419-C98A-5299-7AC0A5A758B6}" dt="2024-02-22T16:48:59.180" v="0"/>
      <pc:docMkLst>
        <pc:docMk/>
      </pc:docMkLst>
      <pc:sldChg chg="addCm">
        <pc:chgData name="Corcoran. Emer (ESB Networks)" userId="S::emer.corcoran@esb.ie::be6c6ed3-1caa-45fc-aff4-32e0fc3d4911" providerId="AD" clId="Web-{CB06C874-D419-C98A-5299-7AC0A5A758B6}" dt="2024-02-22T16:48:59.180" v="0"/>
        <pc:sldMkLst>
          <pc:docMk/>
          <pc:sldMk cId="3704071719" sldId="257309"/>
        </pc:sldMkLst>
      </pc:sldChg>
    </pc:docChg>
  </pc:docChgLst>
  <pc:docChgLst>
    <pc:chgData clId="Web-{6D239C7D-3D3A-4848-ACB4-11A5173EEE1C}"/>
    <pc:docChg chg="">
      <pc:chgData name="" userId="" providerId="" clId="Web-{6D239C7D-3D3A-4848-ACB4-11A5173EEE1C}" dt="2024-02-29T15:00:11.874" v="0"/>
      <pc:docMkLst>
        <pc:docMk/>
      </pc:docMkLst>
      <pc:sldChg chg="modCm">
        <pc:chgData name="" userId="" providerId="" clId="Web-{6D239C7D-3D3A-4848-ACB4-11A5173EEE1C}" dt="2024-02-29T15:00:11.874" v="0"/>
        <pc:sldMkLst>
          <pc:docMk/>
          <pc:sldMk cId="2445383505" sldId="257310"/>
        </pc:sldMkLst>
        <pc:extLst>
          <p:ext xmlns:p="http://schemas.openxmlformats.org/presentationml/2006/main" uri="{D6D511B9-2390-475A-947B-AFAB55BFBCF1}">
            <pc226:cmChg xmlns:pc226="http://schemas.microsoft.com/office/powerpoint/2022/06/main/command" chg="">
              <pc226:chgData name="" userId="" providerId="" clId="Web-{6D239C7D-3D3A-4848-ACB4-11A5173EEE1C}" dt="2024-02-29T15:00:11.874" v="0"/>
              <pc2:cmMkLst xmlns:pc2="http://schemas.microsoft.com/office/powerpoint/2019/9/main/command">
                <pc:docMk/>
                <pc:sldMk cId="2445383505" sldId="257310"/>
                <pc2:cmMk id="{AEE34034-3DBD-4B5C-89E9-39B9EBE3BFFE}"/>
              </pc2:cmMkLst>
              <pc226:cmRplyChg chg="add">
                <pc226:chgData name="" userId="" providerId="" clId="Web-{6D239C7D-3D3A-4848-ACB4-11A5173EEE1C}" dt="2024-02-29T15:00:11.874" v="0"/>
                <pc2:cmRplyMkLst xmlns:pc2="http://schemas.microsoft.com/office/powerpoint/2019/9/main/command">
                  <pc:docMk/>
                  <pc:sldMk cId="2445383505" sldId="257310"/>
                  <pc2:cmMk id="{AEE34034-3DBD-4B5C-89E9-39B9EBE3BFFE}"/>
                  <pc2:cmRplyMk id="{26DFC38C-9FA9-4D04-89CE-163F6D99E44F}"/>
                </pc2:cmRplyMkLst>
              </pc226:cmRplyChg>
            </pc226:cmChg>
          </p:ext>
        </pc:extLst>
      </pc:sldChg>
    </pc:docChg>
  </pc:docChgLst>
  <pc:docChgLst>
    <pc:chgData name="Power. Damien (Contractor - EY)" userId="S::contractor.damien.power@esb.ie::a1f4b3c0-1096-4948-b5f9-75b086acdda0" providerId="AD" clId="Web-{59EFAB4F-4F33-18DD-8330-7379132970C0}"/>
    <pc:docChg chg="modSld">
      <pc:chgData name="Power. Damien (Contractor - EY)" userId="S::contractor.damien.power@esb.ie::a1f4b3c0-1096-4948-b5f9-75b086acdda0" providerId="AD" clId="Web-{59EFAB4F-4F33-18DD-8330-7379132970C0}" dt="2024-02-29T12:53:21.496" v="16"/>
      <pc:docMkLst>
        <pc:docMk/>
      </pc:docMkLst>
      <pc:sldChg chg="delCm">
        <pc:chgData name="Power. Damien (Contractor - EY)" userId="S::contractor.damien.power@esb.ie::a1f4b3c0-1096-4948-b5f9-75b086acdda0" providerId="AD" clId="Web-{59EFAB4F-4F33-18DD-8330-7379132970C0}" dt="2024-02-29T12:53:14.043" v="13"/>
        <pc:sldMkLst>
          <pc:docMk/>
          <pc:sldMk cId="4083202202" sldId="1263"/>
        </pc:sldMkLst>
        <pc:extLst>
          <p:ext xmlns:p="http://schemas.openxmlformats.org/presentationml/2006/main" uri="{D6D511B9-2390-475A-947B-AFAB55BFBCF1}">
            <pc226:cmChg xmlns:pc226="http://schemas.microsoft.com/office/powerpoint/2022/06/main/command" chg="del">
              <pc226:chgData name="Power. Damien (Contractor - EY)" userId="S::contractor.damien.power@esb.ie::a1f4b3c0-1096-4948-b5f9-75b086acdda0" providerId="AD" clId="Web-{59EFAB4F-4F33-18DD-8330-7379132970C0}" dt="2024-02-29T12:53:14.043" v="13"/>
              <pc2:cmMkLst xmlns:pc2="http://schemas.microsoft.com/office/powerpoint/2019/9/main/command">
                <pc:docMk/>
                <pc:sldMk cId="4083202202" sldId="1263"/>
                <pc2:cmMk id="{925A227B-F261-4CEA-8E48-FA329F98C8CF}"/>
              </pc2:cmMkLst>
            </pc226:cmChg>
          </p:ext>
        </pc:extLst>
      </pc:sldChg>
      <pc:sldChg chg="modSp delCm modCm">
        <pc:chgData name="Power. Damien (Contractor - EY)" userId="S::contractor.damien.power@esb.ie::a1f4b3c0-1096-4948-b5f9-75b086acdda0" providerId="AD" clId="Web-{59EFAB4F-4F33-18DD-8330-7379132970C0}" dt="2024-02-29T12:53:18.074" v="14"/>
        <pc:sldMkLst>
          <pc:docMk/>
          <pc:sldMk cId="197788441" sldId="257307"/>
        </pc:sldMkLst>
        <pc:spChg chg="mod">
          <ac:chgData name="Power. Damien (Contractor - EY)" userId="S::contractor.damien.power@esb.ie::a1f4b3c0-1096-4948-b5f9-75b086acdda0" providerId="AD" clId="Web-{59EFAB4F-4F33-18DD-8330-7379132970C0}" dt="2024-02-29T12:53:02.168" v="11" actId="20577"/>
          <ac:spMkLst>
            <pc:docMk/>
            <pc:sldMk cId="197788441" sldId="257307"/>
            <ac:spMk id="4" creationId="{41825E9A-DF3E-44B2-A2BB-5D3F04B1C432}"/>
          </ac:spMkLst>
        </pc:spChg>
        <pc:extLst>
          <p:ext xmlns:p="http://schemas.openxmlformats.org/presentationml/2006/main" uri="{D6D511B9-2390-475A-947B-AFAB55BFBCF1}">
            <pc226:cmChg xmlns:pc226="http://schemas.microsoft.com/office/powerpoint/2022/06/main/command" chg="del mod">
              <pc226:chgData name="Power. Damien (Contractor - EY)" userId="S::contractor.damien.power@esb.ie::a1f4b3c0-1096-4948-b5f9-75b086acdda0" providerId="AD" clId="Web-{59EFAB4F-4F33-18DD-8330-7379132970C0}" dt="2024-02-29T12:53:18.074" v="14"/>
              <pc2:cmMkLst xmlns:pc2="http://schemas.microsoft.com/office/powerpoint/2019/9/main/command">
                <pc:docMk/>
                <pc:sldMk cId="197788441" sldId="257307"/>
                <pc2:cmMk id="{AEE3DB6F-6041-4896-839D-9C53441B46B6}"/>
              </pc2:cmMkLst>
            </pc226:cmChg>
            <pc226:cmChg xmlns:pc226="http://schemas.microsoft.com/office/powerpoint/2022/06/main/command" chg="mod">
              <pc226:chgData name="Power. Damien (Contractor - EY)" userId="S::contractor.damien.power@esb.ie::a1f4b3c0-1096-4948-b5f9-75b086acdda0" providerId="AD" clId="Web-{59EFAB4F-4F33-18DD-8330-7379132970C0}" dt="2024-02-29T12:43:58.215" v="10"/>
              <pc2:cmMkLst xmlns:pc2="http://schemas.microsoft.com/office/powerpoint/2019/9/main/command">
                <pc:docMk/>
                <pc:sldMk cId="197788441" sldId="257307"/>
                <pc2:cmMk id="{DE7F0380-854F-4F32-B887-8C2F2632E89A}"/>
              </pc2:cmMkLst>
              <pc226:cmRplyChg chg="add">
                <pc226:chgData name="Power. Damien (Contractor - EY)" userId="S::contractor.damien.power@esb.ie::a1f4b3c0-1096-4948-b5f9-75b086acdda0" providerId="AD" clId="Web-{59EFAB4F-4F33-18DD-8330-7379132970C0}" dt="2024-02-29T12:43:58.215" v="10"/>
                <pc2:cmRplyMkLst xmlns:pc2="http://schemas.microsoft.com/office/powerpoint/2019/9/main/command">
                  <pc:docMk/>
                  <pc:sldMk cId="197788441" sldId="257307"/>
                  <pc2:cmMk id="{DE7F0380-854F-4F32-B887-8C2F2632E89A}"/>
                  <pc2:cmRplyMk id="{7F0C1EEC-3376-4A2B-80C6-50051FCDD2DC}"/>
                </pc2:cmRplyMkLst>
              </pc226:cmRplyChg>
            </pc226:cmChg>
          </p:ext>
        </pc:extLst>
      </pc:sldChg>
      <pc:sldChg chg="delCm">
        <pc:chgData name="Power. Damien (Contractor - EY)" userId="S::contractor.damien.power@esb.ie::a1f4b3c0-1096-4948-b5f9-75b086acdda0" providerId="AD" clId="Web-{59EFAB4F-4F33-18DD-8330-7379132970C0}" dt="2024-02-29T12:53:21.496" v="16"/>
        <pc:sldMkLst>
          <pc:docMk/>
          <pc:sldMk cId="3704071719" sldId="257309"/>
        </pc:sldMkLst>
        <pc:extLst>
          <p:ext xmlns:p="http://schemas.openxmlformats.org/presentationml/2006/main" uri="{D6D511B9-2390-475A-947B-AFAB55BFBCF1}">
            <pc226:cmChg xmlns:pc226="http://schemas.microsoft.com/office/powerpoint/2022/06/main/command" chg="del">
              <pc226:chgData name="Power. Damien (Contractor - EY)" userId="S::contractor.damien.power@esb.ie::a1f4b3c0-1096-4948-b5f9-75b086acdda0" providerId="AD" clId="Web-{59EFAB4F-4F33-18DD-8330-7379132970C0}" dt="2024-02-29T12:53:21.496" v="16"/>
              <pc2:cmMkLst xmlns:pc2="http://schemas.microsoft.com/office/powerpoint/2019/9/main/command">
                <pc:docMk/>
                <pc:sldMk cId="3704071719" sldId="257309"/>
                <pc2:cmMk id="{DE45E191-1AC5-43DB-931B-4A70601CE915}"/>
              </pc2:cmMkLst>
            </pc226:cmChg>
            <pc226:cmChg xmlns:pc226="http://schemas.microsoft.com/office/powerpoint/2022/06/main/command" chg="del">
              <pc226:chgData name="Power. Damien (Contractor - EY)" userId="S::contractor.damien.power@esb.ie::a1f4b3c0-1096-4948-b5f9-75b086acdda0" providerId="AD" clId="Web-{59EFAB4F-4F33-18DD-8330-7379132970C0}" dt="2024-02-29T12:53:20.824" v="15"/>
              <pc2:cmMkLst xmlns:pc2="http://schemas.microsoft.com/office/powerpoint/2019/9/main/command">
                <pc:docMk/>
                <pc:sldMk cId="3704071719" sldId="257309"/>
                <pc2:cmMk id="{1156D1F7-17FE-49CF-BBFF-785B6F9170F7}"/>
              </pc2:cmMkLst>
            </pc226:cmChg>
          </p:ext>
        </pc:extLst>
      </pc:sldChg>
      <pc:sldChg chg="delCm">
        <pc:chgData name="Power. Damien (Contractor - EY)" userId="S::contractor.damien.power@esb.ie::a1f4b3c0-1096-4948-b5f9-75b086acdda0" providerId="AD" clId="Web-{59EFAB4F-4F33-18DD-8330-7379132970C0}" dt="2024-02-29T12:53:10.059" v="12"/>
        <pc:sldMkLst>
          <pc:docMk/>
          <pc:sldMk cId="2445383505" sldId="257310"/>
        </pc:sldMkLst>
        <pc:extLst>
          <p:ext xmlns:p="http://schemas.openxmlformats.org/presentationml/2006/main" uri="{D6D511B9-2390-475A-947B-AFAB55BFBCF1}">
            <pc226:cmChg xmlns:pc226="http://schemas.microsoft.com/office/powerpoint/2022/06/main/command" chg="del">
              <pc226:chgData name="Power. Damien (Contractor - EY)" userId="S::contractor.damien.power@esb.ie::a1f4b3c0-1096-4948-b5f9-75b086acdda0" providerId="AD" clId="Web-{59EFAB4F-4F33-18DD-8330-7379132970C0}" dt="2024-02-29T12:53:10.059" v="12"/>
              <pc2:cmMkLst xmlns:pc2="http://schemas.microsoft.com/office/powerpoint/2019/9/main/command">
                <pc:docMk/>
                <pc:sldMk cId="2445383505" sldId="257310"/>
                <pc2:cmMk id="{EAF9BF8A-166F-4DCC-B49E-2E970CA1B99A}"/>
              </pc2:cmMkLst>
            </pc226:cmChg>
          </p:ext>
        </pc:extLst>
      </pc:sldChg>
    </pc:docChg>
  </pc:docChgLst>
  <pc:docChgLst>
    <pc:chgData name="Corcoran. Emer (ESB Networks)" userId="be6c6ed3-1caa-45fc-aff4-32e0fc3d4911" providerId="ADAL" clId="{FD7A0D28-02A3-4845-9ACD-936864387063}"/>
    <pc:docChg chg="undo redo custSel modSld">
      <pc:chgData name="Corcoran. Emer (ESB Networks)" userId="be6c6ed3-1caa-45fc-aff4-32e0fc3d4911" providerId="ADAL" clId="{FD7A0D28-02A3-4845-9ACD-936864387063}" dt="2024-02-23T10:43:57.040" v="193"/>
      <pc:docMkLst>
        <pc:docMk/>
      </pc:docMkLst>
      <pc:sldChg chg="modSp mod addCm modCm">
        <pc:chgData name="Corcoran. Emer (ESB Networks)" userId="be6c6ed3-1caa-45fc-aff4-32e0fc3d4911" providerId="ADAL" clId="{FD7A0D28-02A3-4845-9ACD-936864387063}" dt="2024-02-22T12:46:09.321" v="120"/>
        <pc:sldMkLst>
          <pc:docMk/>
          <pc:sldMk cId="2678521947" sldId="257306"/>
        </pc:sldMkLst>
        <pc:spChg chg="mod">
          <ac:chgData name="Corcoran. Emer (ESB Networks)" userId="be6c6ed3-1caa-45fc-aff4-32e0fc3d4911" providerId="ADAL" clId="{FD7A0D28-02A3-4845-9ACD-936864387063}" dt="2024-02-22T11:36:26.497" v="117" actId="313"/>
          <ac:spMkLst>
            <pc:docMk/>
            <pc:sldMk cId="2678521947" sldId="257306"/>
            <ac:spMk id="4" creationId="{41825E9A-DF3E-44B2-A2BB-5D3F04B1C432}"/>
          </ac:spMkLst>
        </pc:spChg>
      </pc:sldChg>
      <pc:sldChg chg="addCm modCm">
        <pc:chgData name="Corcoran. Emer (ESB Networks)" userId="be6c6ed3-1caa-45fc-aff4-32e0fc3d4911" providerId="ADAL" clId="{FD7A0D28-02A3-4845-9ACD-936864387063}" dt="2024-02-22T11:38:52.215" v="119"/>
        <pc:sldMkLst>
          <pc:docMk/>
          <pc:sldMk cId="197788441" sldId="257307"/>
        </pc:sldMkLst>
      </pc:sldChg>
      <pc:sldChg chg="modSp mod modCm">
        <pc:chgData name="Corcoran. Emer (ESB Networks)" userId="be6c6ed3-1caa-45fc-aff4-32e0fc3d4911" providerId="ADAL" clId="{FD7A0D28-02A3-4845-9ACD-936864387063}" dt="2024-02-23T10:27:57.469" v="191" actId="166"/>
        <pc:sldMkLst>
          <pc:docMk/>
          <pc:sldMk cId="3704071719" sldId="257309"/>
        </pc:sldMkLst>
        <pc:spChg chg="ord">
          <ac:chgData name="Corcoran. Emer (ESB Networks)" userId="be6c6ed3-1caa-45fc-aff4-32e0fc3d4911" providerId="ADAL" clId="{FD7A0D28-02A3-4845-9ACD-936864387063}" dt="2024-02-23T10:27:51.964" v="190" actId="166"/>
          <ac:spMkLst>
            <pc:docMk/>
            <pc:sldMk cId="3704071719" sldId="257309"/>
            <ac:spMk id="63" creationId="{4BFD9745-B8DA-2A65-8E69-AD64C448CFF8}"/>
          </ac:spMkLst>
        </pc:spChg>
        <pc:grpChg chg="mod">
          <ac:chgData name="Corcoran. Emer (ESB Networks)" userId="be6c6ed3-1caa-45fc-aff4-32e0fc3d4911" providerId="ADAL" clId="{FD7A0D28-02A3-4845-9ACD-936864387063}" dt="2024-02-23T10:27:16.557" v="179" actId="1036"/>
          <ac:grpSpMkLst>
            <pc:docMk/>
            <pc:sldMk cId="3704071719" sldId="257309"/>
            <ac:grpSpMk id="41" creationId="{6E29EB72-17FE-081A-2AC3-0DDC3BECA852}"/>
          </ac:grpSpMkLst>
        </pc:grpChg>
        <pc:grpChg chg="mod">
          <ac:chgData name="Corcoran. Emer (ESB Networks)" userId="be6c6ed3-1caa-45fc-aff4-32e0fc3d4911" providerId="ADAL" clId="{FD7A0D28-02A3-4845-9ACD-936864387063}" dt="2024-02-23T10:27:16.557" v="179" actId="1036"/>
          <ac:grpSpMkLst>
            <pc:docMk/>
            <pc:sldMk cId="3704071719" sldId="257309"/>
            <ac:grpSpMk id="44" creationId="{3340A708-A4AD-137B-77AE-FACDB966A8C0}"/>
          </ac:grpSpMkLst>
        </pc:grpChg>
        <pc:grpChg chg="mod">
          <ac:chgData name="Corcoran. Emer (ESB Networks)" userId="be6c6ed3-1caa-45fc-aff4-32e0fc3d4911" providerId="ADAL" clId="{FD7A0D28-02A3-4845-9ACD-936864387063}" dt="2024-02-23T10:26:05.271" v="140" actId="14100"/>
          <ac:grpSpMkLst>
            <pc:docMk/>
            <pc:sldMk cId="3704071719" sldId="257309"/>
            <ac:grpSpMk id="48" creationId="{C4A3EE3B-20A5-D8EF-64A1-51F02429A736}"/>
          </ac:grpSpMkLst>
        </pc:grpChg>
        <pc:grpChg chg="mod ord">
          <ac:chgData name="Corcoran. Emer (ESB Networks)" userId="be6c6ed3-1caa-45fc-aff4-32e0fc3d4911" providerId="ADAL" clId="{FD7A0D28-02A3-4845-9ACD-936864387063}" dt="2024-02-23T10:27:57.469" v="191" actId="166"/>
          <ac:grpSpMkLst>
            <pc:docMk/>
            <pc:sldMk cId="3704071719" sldId="257309"/>
            <ac:grpSpMk id="55" creationId="{C39442D7-8967-C684-9C0C-51E14C9D28B4}"/>
          </ac:grpSpMkLst>
        </pc:grpChg>
        <pc:grpChg chg="mod">
          <ac:chgData name="Corcoran. Emer (ESB Networks)" userId="be6c6ed3-1caa-45fc-aff4-32e0fc3d4911" providerId="ADAL" clId="{FD7A0D28-02A3-4845-9ACD-936864387063}" dt="2024-02-23T10:27:28.846" v="189" actId="1037"/>
          <ac:grpSpMkLst>
            <pc:docMk/>
            <pc:sldMk cId="3704071719" sldId="257309"/>
            <ac:grpSpMk id="57" creationId="{FFBABC1E-54F5-EEFE-8E5C-1F83DC2D915B}"/>
          </ac:grpSpMkLst>
        </pc:grpChg>
        <pc:grpChg chg="mod">
          <ac:chgData name="Corcoran. Emer (ESB Networks)" userId="be6c6ed3-1caa-45fc-aff4-32e0fc3d4911" providerId="ADAL" clId="{FD7A0D28-02A3-4845-9ACD-936864387063}" dt="2024-02-23T10:26:05.271" v="140" actId="14100"/>
          <ac:grpSpMkLst>
            <pc:docMk/>
            <pc:sldMk cId="3704071719" sldId="257309"/>
            <ac:grpSpMk id="64" creationId="{A21C8769-F6BB-B59B-7DB6-8B358933E28F}"/>
          </ac:grpSpMkLst>
        </pc:grpChg>
      </pc:sldChg>
      <pc:sldChg chg="addCm delCm">
        <pc:chgData name="Corcoran. Emer (ESB Networks)" userId="be6c6ed3-1caa-45fc-aff4-32e0fc3d4911" providerId="ADAL" clId="{FD7A0D28-02A3-4845-9ACD-936864387063}" dt="2024-02-23T10:43:57.040" v="193"/>
        <pc:sldMkLst>
          <pc:docMk/>
          <pc:sldMk cId="2445383505" sldId="257310"/>
        </pc:sldMkLst>
      </pc:sldChg>
    </pc:docChg>
  </pc:docChgLst>
  <pc:docChgLst>
    <pc:chgData name="Power. Damien (Contractor - EY)" userId="a1f4b3c0-1096-4948-b5f9-75b086acdda0" providerId="ADAL" clId="{94121CFC-10B5-40EF-8F96-06DEA995F0B5}"/>
    <pc:docChg chg="delSld modSld">
      <pc:chgData name="Power. Damien (Contractor - EY)" userId="a1f4b3c0-1096-4948-b5f9-75b086acdda0" providerId="ADAL" clId="{94121CFC-10B5-40EF-8F96-06DEA995F0B5}" dt="2024-02-29T12:38:40.821" v="200" actId="2696"/>
      <pc:docMkLst>
        <pc:docMk/>
      </pc:docMkLst>
      <pc:sldChg chg="del">
        <pc:chgData name="Power. Damien (Contractor - EY)" userId="a1f4b3c0-1096-4948-b5f9-75b086acdda0" providerId="ADAL" clId="{94121CFC-10B5-40EF-8F96-06DEA995F0B5}" dt="2024-02-29T12:38:40.821" v="200" actId="2696"/>
        <pc:sldMkLst>
          <pc:docMk/>
          <pc:sldMk cId="2678521947" sldId="257306"/>
        </pc:sldMkLst>
      </pc:sldChg>
      <pc:sldChg chg="modSp mod addCm modCm">
        <pc:chgData name="Power. Damien (Contractor - EY)" userId="a1f4b3c0-1096-4948-b5f9-75b086acdda0" providerId="ADAL" clId="{94121CFC-10B5-40EF-8F96-06DEA995F0B5}" dt="2024-02-29T12:34:16.993" v="15"/>
        <pc:sldMkLst>
          <pc:docMk/>
          <pc:sldMk cId="197788441" sldId="257307"/>
        </pc:sldMkLst>
        <pc:spChg chg="mod">
          <ac:chgData name="Power. Damien (Contractor - EY)" userId="a1f4b3c0-1096-4948-b5f9-75b086acdda0" providerId="ADAL" clId="{94121CFC-10B5-40EF-8F96-06DEA995F0B5}" dt="2024-02-29T12:33:23.547" v="14" actId="20577"/>
          <ac:spMkLst>
            <pc:docMk/>
            <pc:sldMk cId="197788441" sldId="257307"/>
            <ac:spMk id="4" creationId="{41825E9A-DF3E-44B2-A2BB-5D3F04B1C432}"/>
          </ac:spMkLst>
        </pc:spChg>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94121CFC-10B5-40EF-8F96-06DEA995F0B5}" dt="2024-02-29T12:33:23.547" v="14" actId="20577"/>
              <pc2:cmMkLst xmlns:pc2="http://schemas.microsoft.com/office/powerpoint/2019/9/main/command">
                <pc:docMk/>
                <pc:sldMk cId="197788441" sldId="257307"/>
                <pc2:cmMk id="{AEE3DB6F-6041-4896-839D-9C53441B46B6}"/>
              </pc2:cmMkLst>
            </pc226:cmChg>
            <pc226:cmChg xmlns:pc226="http://schemas.microsoft.com/office/powerpoint/2022/06/main/command" chg="add">
              <pc226:chgData name="Power. Damien (Contractor - EY)" userId="a1f4b3c0-1096-4948-b5f9-75b086acdda0" providerId="ADAL" clId="{94121CFC-10B5-40EF-8F96-06DEA995F0B5}" dt="2024-02-29T12:34:16.993" v="15"/>
              <pc2:cmMkLst xmlns:pc2="http://schemas.microsoft.com/office/powerpoint/2019/9/main/command">
                <pc:docMk/>
                <pc:sldMk cId="197788441" sldId="257307"/>
                <pc2:cmMk id="{DE7F0380-854F-4F32-B887-8C2F2632E89A}"/>
              </pc2:cmMkLst>
            </pc226:cmChg>
          </p:ext>
        </pc:extLst>
      </pc:sldChg>
      <pc:sldChg chg="del">
        <pc:chgData name="Power. Damien (Contractor - EY)" userId="a1f4b3c0-1096-4948-b5f9-75b086acdda0" providerId="ADAL" clId="{94121CFC-10B5-40EF-8F96-06DEA995F0B5}" dt="2024-02-29T12:38:36.933" v="199" actId="2696"/>
        <pc:sldMkLst>
          <pc:docMk/>
          <pc:sldMk cId="869737009" sldId="257308"/>
        </pc:sldMkLst>
      </pc:sldChg>
      <pc:sldChg chg="addSp modSp mod">
        <pc:chgData name="Power. Damien (Contractor - EY)" userId="a1f4b3c0-1096-4948-b5f9-75b086acdda0" providerId="ADAL" clId="{94121CFC-10B5-40EF-8F96-06DEA995F0B5}" dt="2024-02-29T12:38:26.760" v="198" actId="164"/>
        <pc:sldMkLst>
          <pc:docMk/>
          <pc:sldMk cId="3704071719" sldId="257309"/>
        </pc:sldMkLst>
        <pc:spChg chg="mod">
          <ac:chgData name="Power. Damien (Contractor - EY)" userId="a1f4b3c0-1096-4948-b5f9-75b086acdda0" providerId="ADAL" clId="{94121CFC-10B5-40EF-8F96-06DEA995F0B5}" dt="2024-02-29T12:36:29.244" v="147" actId="1037"/>
          <ac:spMkLst>
            <pc:docMk/>
            <pc:sldMk cId="3704071719" sldId="257309"/>
            <ac:spMk id="11" creationId="{21D76DC2-1624-48F9-89BF-C18FC670CAD1}"/>
          </ac:spMkLst>
        </pc:spChg>
        <pc:spChg chg="mod">
          <ac:chgData name="Power. Damien (Contractor - EY)" userId="a1f4b3c0-1096-4948-b5f9-75b086acdda0" providerId="ADAL" clId="{94121CFC-10B5-40EF-8F96-06DEA995F0B5}" dt="2024-02-29T12:37:11.531" v="189" actId="1582"/>
          <ac:spMkLst>
            <pc:docMk/>
            <pc:sldMk cId="3704071719" sldId="257309"/>
            <ac:spMk id="12" creationId="{BF197A6C-E43C-443B-999F-EAF9324CB1F8}"/>
          </ac:spMkLst>
        </pc:spChg>
        <pc:spChg chg="mod">
          <ac:chgData name="Power. Damien (Contractor - EY)" userId="a1f4b3c0-1096-4948-b5f9-75b086acdda0" providerId="ADAL" clId="{94121CFC-10B5-40EF-8F96-06DEA995F0B5}" dt="2024-02-29T12:36:33.080" v="150" actId="1035"/>
          <ac:spMkLst>
            <pc:docMk/>
            <pc:sldMk cId="3704071719" sldId="257309"/>
            <ac:spMk id="19" creationId="{604A9FDE-2D23-AE51-713C-39844392E6C9}"/>
          </ac:spMkLst>
        </pc:spChg>
        <pc:spChg chg="mod">
          <ac:chgData name="Power. Damien (Contractor - EY)" userId="a1f4b3c0-1096-4948-b5f9-75b086acdda0" providerId="ADAL" clId="{94121CFC-10B5-40EF-8F96-06DEA995F0B5}" dt="2024-02-29T12:37:33.194" v="190" actId="207"/>
          <ac:spMkLst>
            <pc:docMk/>
            <pc:sldMk cId="3704071719" sldId="257309"/>
            <ac:spMk id="29" creationId="{A4748000-5E82-6239-2319-A05F75DE6A12}"/>
          </ac:spMkLst>
        </pc:spChg>
        <pc:spChg chg="mod">
          <ac:chgData name="Power. Damien (Contractor - EY)" userId="a1f4b3c0-1096-4948-b5f9-75b086acdda0" providerId="ADAL" clId="{94121CFC-10B5-40EF-8F96-06DEA995F0B5}" dt="2024-02-29T12:38:26.760" v="198" actId="164"/>
          <ac:spMkLst>
            <pc:docMk/>
            <pc:sldMk cId="3704071719" sldId="257309"/>
            <ac:spMk id="33" creationId="{6CAB5F38-8200-2FCE-1A00-60B5DDA717A6}"/>
          </ac:spMkLst>
        </pc:spChg>
        <pc:spChg chg="mod">
          <ac:chgData name="Power. Damien (Contractor - EY)" userId="a1f4b3c0-1096-4948-b5f9-75b086acdda0" providerId="ADAL" clId="{94121CFC-10B5-40EF-8F96-06DEA995F0B5}" dt="2024-02-29T12:38:07.329" v="195" actId="403"/>
          <ac:spMkLst>
            <pc:docMk/>
            <pc:sldMk cId="3704071719" sldId="257309"/>
            <ac:spMk id="36" creationId="{29DFA5E3-7E20-D3B2-C72E-029E7FE2B4CD}"/>
          </ac:spMkLst>
        </pc:spChg>
        <pc:spChg chg="mod">
          <ac:chgData name="Power. Damien (Contractor - EY)" userId="a1f4b3c0-1096-4948-b5f9-75b086acdda0" providerId="ADAL" clId="{94121CFC-10B5-40EF-8F96-06DEA995F0B5}" dt="2024-02-29T12:38:14.147" v="197" actId="403"/>
          <ac:spMkLst>
            <pc:docMk/>
            <pc:sldMk cId="3704071719" sldId="257309"/>
            <ac:spMk id="58" creationId="{D602CAA6-EF51-61F0-71B3-C471CA3470C5}"/>
          </ac:spMkLst>
        </pc:spChg>
        <pc:spChg chg="mod">
          <ac:chgData name="Power. Damien (Contractor - EY)" userId="a1f4b3c0-1096-4948-b5f9-75b086acdda0" providerId="ADAL" clId="{94121CFC-10B5-40EF-8F96-06DEA995F0B5}" dt="2024-02-29T12:38:11.536" v="196" actId="403"/>
          <ac:spMkLst>
            <pc:docMk/>
            <pc:sldMk cId="3704071719" sldId="257309"/>
            <ac:spMk id="61" creationId="{07F8AB4D-BB4E-46D1-4752-64DC836DB14E}"/>
          </ac:spMkLst>
        </pc:spChg>
        <pc:spChg chg="add mod">
          <ac:chgData name="Power. Damien (Contractor - EY)" userId="a1f4b3c0-1096-4948-b5f9-75b086acdda0" providerId="ADAL" clId="{94121CFC-10B5-40EF-8F96-06DEA995F0B5}" dt="2024-02-29T12:38:26.760" v="198" actId="164"/>
          <ac:spMkLst>
            <pc:docMk/>
            <pc:sldMk cId="3704071719" sldId="257309"/>
            <ac:spMk id="67" creationId="{FFECC4DC-6684-E078-6685-B42498920848}"/>
          </ac:spMkLst>
        </pc:spChg>
        <pc:grpChg chg="mod">
          <ac:chgData name="Power. Damien (Contractor - EY)" userId="a1f4b3c0-1096-4948-b5f9-75b086acdda0" providerId="ADAL" clId="{94121CFC-10B5-40EF-8F96-06DEA995F0B5}" dt="2024-02-29T12:36:47.801" v="173" actId="1035"/>
          <ac:grpSpMkLst>
            <pc:docMk/>
            <pc:sldMk cId="3704071719" sldId="257309"/>
            <ac:grpSpMk id="6" creationId="{72B056AB-B24C-7360-C569-69D959CE3990}"/>
          </ac:grpSpMkLst>
        </pc:grpChg>
        <pc:grpChg chg="mod">
          <ac:chgData name="Power. Damien (Contractor - EY)" userId="a1f4b3c0-1096-4948-b5f9-75b086acdda0" providerId="ADAL" clId="{94121CFC-10B5-40EF-8F96-06DEA995F0B5}" dt="2024-02-29T12:36:23.111" v="130" actId="1036"/>
          <ac:grpSpMkLst>
            <pc:docMk/>
            <pc:sldMk cId="3704071719" sldId="257309"/>
            <ac:grpSpMk id="17" creationId="{ECBFE656-9F78-4DE0-2827-827A49FF349B}"/>
          </ac:grpSpMkLst>
        </pc:grpChg>
        <pc:grpChg chg="mod">
          <ac:chgData name="Power. Damien (Contractor - EY)" userId="a1f4b3c0-1096-4948-b5f9-75b086acdda0" providerId="ADAL" clId="{94121CFC-10B5-40EF-8F96-06DEA995F0B5}" dt="2024-02-29T12:36:12.041" v="100" actId="1035"/>
          <ac:grpSpMkLst>
            <pc:docMk/>
            <pc:sldMk cId="3704071719" sldId="257309"/>
            <ac:grpSpMk id="26" creationId="{603232C4-85CF-AC44-C1B2-6C761ECB7885}"/>
          </ac:grpSpMkLst>
        </pc:grpChg>
        <pc:grpChg chg="mod">
          <ac:chgData name="Power. Damien (Contractor - EY)" userId="a1f4b3c0-1096-4948-b5f9-75b086acdda0" providerId="ADAL" clId="{94121CFC-10B5-40EF-8F96-06DEA995F0B5}" dt="2024-02-29T12:36:17.976" v="117" actId="1035"/>
          <ac:grpSpMkLst>
            <pc:docMk/>
            <pc:sldMk cId="3704071719" sldId="257309"/>
            <ac:grpSpMk id="27" creationId="{4F1323D7-D6BB-5AEE-ECE3-2903D966FCFF}"/>
          </ac:grpSpMkLst>
        </pc:grpChg>
        <pc:grpChg chg="mod">
          <ac:chgData name="Power. Damien (Contractor - EY)" userId="a1f4b3c0-1096-4948-b5f9-75b086acdda0" providerId="ADAL" clId="{94121CFC-10B5-40EF-8F96-06DEA995F0B5}" dt="2024-02-29T12:36:55.038" v="186" actId="1035"/>
          <ac:grpSpMkLst>
            <pc:docMk/>
            <pc:sldMk cId="3704071719" sldId="257309"/>
            <ac:grpSpMk id="30" creationId="{7761D0AB-7D82-ED8E-56D5-50A3D77537BD}"/>
          </ac:grpSpMkLst>
        </pc:grpChg>
        <pc:grpChg chg="mod">
          <ac:chgData name="Power. Damien (Contractor - EY)" userId="a1f4b3c0-1096-4948-b5f9-75b086acdda0" providerId="ADAL" clId="{94121CFC-10B5-40EF-8F96-06DEA995F0B5}" dt="2024-02-29T12:35:20.063" v="46" actId="1035"/>
          <ac:grpSpMkLst>
            <pc:docMk/>
            <pc:sldMk cId="3704071719" sldId="257309"/>
            <ac:grpSpMk id="41" creationId="{6E29EB72-17FE-081A-2AC3-0DDC3BECA852}"/>
          </ac:grpSpMkLst>
        </pc:grpChg>
        <pc:grpChg chg="mod">
          <ac:chgData name="Power. Damien (Contractor - EY)" userId="a1f4b3c0-1096-4948-b5f9-75b086acdda0" providerId="ADAL" clId="{94121CFC-10B5-40EF-8F96-06DEA995F0B5}" dt="2024-02-29T12:34:56.795" v="25" actId="1035"/>
          <ac:grpSpMkLst>
            <pc:docMk/>
            <pc:sldMk cId="3704071719" sldId="257309"/>
            <ac:grpSpMk id="44" creationId="{3340A708-A4AD-137B-77AE-FACDB966A8C0}"/>
          </ac:grpSpMkLst>
        </pc:grpChg>
        <pc:grpChg chg="mod">
          <ac:chgData name="Power. Damien (Contractor - EY)" userId="a1f4b3c0-1096-4948-b5f9-75b086acdda0" providerId="ADAL" clId="{94121CFC-10B5-40EF-8F96-06DEA995F0B5}" dt="2024-02-29T12:35:52.946" v="57" actId="1035"/>
          <ac:grpSpMkLst>
            <pc:docMk/>
            <pc:sldMk cId="3704071719" sldId="257309"/>
            <ac:grpSpMk id="48" creationId="{C4A3EE3B-20A5-D8EF-64A1-51F02429A736}"/>
          </ac:grpSpMkLst>
        </pc:grpChg>
        <pc:grpChg chg="mod">
          <ac:chgData name="Power. Damien (Contractor - EY)" userId="a1f4b3c0-1096-4948-b5f9-75b086acdda0" providerId="ADAL" clId="{94121CFC-10B5-40EF-8F96-06DEA995F0B5}" dt="2024-02-29T12:38:26.760" v="198" actId="164"/>
          <ac:grpSpMkLst>
            <pc:docMk/>
            <pc:sldMk cId="3704071719" sldId="257309"/>
            <ac:grpSpMk id="52" creationId="{2019A708-AA7D-6A49-92BA-D68C83FCB640}"/>
          </ac:grpSpMkLst>
        </pc:grpChg>
        <pc:grpChg chg="mod">
          <ac:chgData name="Power. Damien (Contractor - EY)" userId="a1f4b3c0-1096-4948-b5f9-75b086acdda0" providerId="ADAL" clId="{94121CFC-10B5-40EF-8F96-06DEA995F0B5}" dt="2024-02-29T12:38:26.760" v="198" actId="164"/>
          <ac:grpSpMkLst>
            <pc:docMk/>
            <pc:sldMk cId="3704071719" sldId="257309"/>
            <ac:grpSpMk id="53" creationId="{A6E3ED0E-F993-5CAA-6599-841C980E5A46}"/>
          </ac:grpSpMkLst>
        </pc:grpChg>
        <pc:grpChg chg="mod">
          <ac:chgData name="Power. Damien (Contractor - EY)" userId="a1f4b3c0-1096-4948-b5f9-75b086acdda0" providerId="ADAL" clId="{94121CFC-10B5-40EF-8F96-06DEA995F0B5}" dt="2024-02-29T12:35:12.046" v="45" actId="1035"/>
          <ac:grpSpMkLst>
            <pc:docMk/>
            <pc:sldMk cId="3704071719" sldId="257309"/>
            <ac:grpSpMk id="55" creationId="{C39442D7-8967-C684-9C0C-51E14C9D28B4}"/>
          </ac:grpSpMkLst>
        </pc:grpChg>
        <pc:grpChg chg="mod">
          <ac:chgData name="Power. Damien (Contractor - EY)" userId="a1f4b3c0-1096-4948-b5f9-75b086acdda0" providerId="ADAL" clId="{94121CFC-10B5-40EF-8F96-06DEA995F0B5}" dt="2024-02-29T12:36:05.577" v="88" actId="1035"/>
          <ac:grpSpMkLst>
            <pc:docMk/>
            <pc:sldMk cId="3704071719" sldId="257309"/>
            <ac:grpSpMk id="57" creationId="{FFBABC1E-54F5-EEFE-8E5C-1F83DC2D915B}"/>
          </ac:grpSpMkLst>
        </pc:grpChg>
        <pc:grpChg chg="mod">
          <ac:chgData name="Power. Damien (Contractor - EY)" userId="a1f4b3c0-1096-4948-b5f9-75b086acdda0" providerId="ADAL" clId="{94121CFC-10B5-40EF-8F96-06DEA995F0B5}" dt="2024-02-29T12:38:26.760" v="198" actId="164"/>
          <ac:grpSpMkLst>
            <pc:docMk/>
            <pc:sldMk cId="3704071719" sldId="257309"/>
            <ac:grpSpMk id="59" creationId="{15FB2010-D098-78B4-A727-7B87703EE274}"/>
          </ac:grpSpMkLst>
        </pc:grpChg>
        <pc:grpChg chg="mod">
          <ac:chgData name="Power. Damien (Contractor - EY)" userId="a1f4b3c0-1096-4948-b5f9-75b086acdda0" providerId="ADAL" clId="{94121CFC-10B5-40EF-8F96-06DEA995F0B5}" dt="2024-02-29T12:36:00.780" v="74" actId="1035"/>
          <ac:grpSpMkLst>
            <pc:docMk/>
            <pc:sldMk cId="3704071719" sldId="257309"/>
            <ac:grpSpMk id="64" creationId="{A21C8769-F6BB-B59B-7DB6-8B358933E28F}"/>
          </ac:grpSpMkLst>
        </pc:grpChg>
        <pc:grpChg chg="add mod">
          <ac:chgData name="Power. Damien (Contractor - EY)" userId="a1f4b3c0-1096-4948-b5f9-75b086acdda0" providerId="ADAL" clId="{94121CFC-10B5-40EF-8F96-06DEA995F0B5}" dt="2024-02-29T12:38:26.760" v="198" actId="164"/>
          <ac:grpSpMkLst>
            <pc:docMk/>
            <pc:sldMk cId="3704071719" sldId="257309"/>
            <ac:grpSpMk id="68" creationId="{371C0F63-9E8B-DD6D-99FA-B10D263A9D1A}"/>
          </ac:grpSpMkLst>
        </pc:grpChg>
        <pc:cxnChg chg="mod">
          <ac:chgData name="Power. Damien (Contractor - EY)" userId="a1f4b3c0-1096-4948-b5f9-75b086acdda0" providerId="ADAL" clId="{94121CFC-10B5-40EF-8F96-06DEA995F0B5}" dt="2024-02-29T12:35:39.248" v="47" actId="208"/>
          <ac:cxnSpMkLst>
            <pc:docMk/>
            <pc:sldMk cId="3704071719" sldId="257309"/>
            <ac:cxnSpMk id="15" creationId="{8DFEC1C8-FB51-43A9-9084-07F73B632638}"/>
          </ac:cxnSpMkLst>
        </pc:cxnChg>
      </pc:sldChg>
      <pc:sldChg chg="modSp mod modCm">
        <pc:chgData name="Power. Damien (Contractor - EY)" userId="a1f4b3c0-1096-4948-b5f9-75b086acdda0" providerId="ADAL" clId="{94121CFC-10B5-40EF-8F96-06DEA995F0B5}" dt="2024-02-29T12:33:06.535" v="12" actId="207"/>
        <pc:sldMkLst>
          <pc:docMk/>
          <pc:sldMk cId="2445383505" sldId="257310"/>
        </pc:sldMkLst>
        <pc:spChg chg="mod">
          <ac:chgData name="Power. Damien (Contractor - EY)" userId="a1f4b3c0-1096-4948-b5f9-75b086acdda0" providerId="ADAL" clId="{94121CFC-10B5-40EF-8F96-06DEA995F0B5}" dt="2024-02-29T12:33:06.535" v="12" actId="207"/>
          <ac:spMkLst>
            <pc:docMk/>
            <pc:sldMk cId="2445383505" sldId="257310"/>
            <ac:spMk id="4" creationId="{41825E9A-DF3E-44B2-A2BB-5D3F04B1C432}"/>
          </ac:spMkLst>
        </pc:spChg>
        <pc:extLst>
          <p:ext xmlns:p="http://schemas.openxmlformats.org/presentationml/2006/main" uri="{D6D511B9-2390-475A-947B-AFAB55BFBCF1}">
            <pc226:cmChg xmlns:pc226="http://schemas.microsoft.com/office/powerpoint/2022/06/main/command" chg="mod">
              <pc226:chgData name="Power. Damien (Contractor - EY)" userId="a1f4b3c0-1096-4948-b5f9-75b086acdda0" providerId="ADAL" clId="{94121CFC-10B5-40EF-8F96-06DEA995F0B5}" dt="2024-02-29T12:32:57.864" v="11" actId="20577"/>
              <pc2:cmMkLst xmlns:pc2="http://schemas.microsoft.com/office/powerpoint/2019/9/main/command">
                <pc:docMk/>
                <pc:sldMk cId="2445383505" sldId="257310"/>
                <pc2:cmMk id="{EAF9BF8A-166F-4DCC-B49E-2E970CA1B99A}"/>
              </pc2:cmMkLst>
            </pc226:cmChg>
          </p:ext>
        </pc:extLst>
      </pc:sldChg>
    </pc:docChg>
  </pc:docChgLst>
  <pc:docChgLst>
    <pc:chgData name="Corcoran. Emer (ESB Networks)" userId="be6c6ed3-1caa-45fc-aff4-32e0fc3d4911" providerId="ADAL" clId="{931028BF-01A2-4DB7-9DAC-1270CC926889}"/>
    <pc:docChg chg="custSel modSld">
      <pc:chgData name="Corcoran. Emer (ESB Networks)" userId="be6c6ed3-1caa-45fc-aff4-32e0fc3d4911" providerId="ADAL" clId="{931028BF-01A2-4DB7-9DAC-1270CC926889}" dt="2022-08-18T15:13:43.628" v="11"/>
      <pc:docMkLst>
        <pc:docMk/>
      </pc:docMkLst>
      <pc:sldChg chg="addCm modCm">
        <pc:chgData name="Corcoran. Emer (ESB Networks)" userId="be6c6ed3-1caa-45fc-aff4-32e0fc3d4911" providerId="ADAL" clId="{931028BF-01A2-4DB7-9DAC-1270CC926889}" dt="2022-08-18T15:09:40.869" v="4"/>
        <pc:sldMkLst>
          <pc:docMk/>
          <pc:sldMk cId="2678521947" sldId="257306"/>
        </pc:sldMkLst>
      </pc:sldChg>
      <pc:sldChg chg="addCm modCm">
        <pc:chgData name="Corcoran. Emer (ESB Networks)" userId="be6c6ed3-1caa-45fc-aff4-32e0fc3d4911" providerId="ADAL" clId="{931028BF-01A2-4DB7-9DAC-1270CC926889}" dt="2022-08-18T15:13:43.628" v="11"/>
        <pc:sldMkLst>
          <pc:docMk/>
          <pc:sldMk cId="869737009" sldId="257308"/>
        </pc:sldMkLst>
      </pc:sldChg>
    </pc:docChg>
  </pc:docChgLst>
  <pc:docChgLst>
    <pc:chgData name="O'Hagan. Sinead (Contractor - Ernst &amp; Young)" userId="37e0efa1-0107-4a6a-a201-5949a9329ddf" providerId="ADAL" clId="{92E5A1EA-CAD8-400A-8CA4-0AC8F95E864E}"/>
    <pc:docChg chg="undo custSel addSld delSld modSld">
      <pc:chgData name="O'Hagan. Sinead (Contractor - Ernst &amp; Young)" userId="37e0efa1-0107-4a6a-a201-5949a9329ddf" providerId="ADAL" clId="{92E5A1EA-CAD8-400A-8CA4-0AC8F95E864E}" dt="2022-06-09T10:45:14.339" v="391" actId="20577"/>
      <pc:docMkLst>
        <pc:docMk/>
      </pc:docMkLst>
      <pc:sldChg chg="del delCm modCm">
        <pc:chgData name="O'Hagan. Sinead (Contractor - Ernst &amp; Young)" userId="37e0efa1-0107-4a6a-a201-5949a9329ddf" providerId="ADAL" clId="{92E5A1EA-CAD8-400A-8CA4-0AC8F95E864E}" dt="2022-06-09T10:10:09.061" v="383" actId="47"/>
        <pc:sldMkLst>
          <pc:docMk/>
          <pc:sldMk cId="1305179589" sldId="1264"/>
        </pc:sldMkLst>
      </pc:sldChg>
      <pc:sldChg chg="modSp mod">
        <pc:chgData name="O'Hagan. Sinead (Contractor - Ernst &amp; Young)" userId="37e0efa1-0107-4a6a-a201-5949a9329ddf" providerId="ADAL" clId="{92E5A1EA-CAD8-400A-8CA4-0AC8F95E864E}" dt="2022-06-09T09:27:49.425" v="236" actId="20577"/>
        <pc:sldMkLst>
          <pc:docMk/>
          <pc:sldMk cId="2678521947" sldId="257306"/>
        </pc:sldMkLst>
        <pc:spChg chg="mod">
          <ac:chgData name="O'Hagan. Sinead (Contractor - Ernst &amp; Young)" userId="37e0efa1-0107-4a6a-a201-5949a9329ddf" providerId="ADAL" clId="{92E5A1EA-CAD8-400A-8CA4-0AC8F95E864E}" dt="2022-06-09T09:27:49.425" v="236" actId="20577"/>
          <ac:spMkLst>
            <pc:docMk/>
            <pc:sldMk cId="2678521947" sldId="257306"/>
            <ac:spMk id="4" creationId="{41825E9A-DF3E-44B2-A2BB-5D3F04B1C432}"/>
          </ac:spMkLst>
        </pc:spChg>
      </pc:sldChg>
      <pc:sldChg chg="modSp mod">
        <pc:chgData name="O'Hagan. Sinead (Contractor - Ernst &amp; Young)" userId="37e0efa1-0107-4a6a-a201-5949a9329ddf" providerId="ADAL" clId="{92E5A1EA-CAD8-400A-8CA4-0AC8F95E864E}" dt="2022-06-09T09:28:48.786" v="241" actId="113"/>
        <pc:sldMkLst>
          <pc:docMk/>
          <pc:sldMk cId="197788441" sldId="257307"/>
        </pc:sldMkLst>
        <pc:spChg chg="mod">
          <ac:chgData name="O'Hagan. Sinead (Contractor - Ernst &amp; Young)" userId="37e0efa1-0107-4a6a-a201-5949a9329ddf" providerId="ADAL" clId="{92E5A1EA-CAD8-400A-8CA4-0AC8F95E864E}" dt="2022-06-09T09:28:48.786" v="241" actId="113"/>
          <ac:spMkLst>
            <pc:docMk/>
            <pc:sldMk cId="197788441" sldId="257307"/>
            <ac:spMk id="4" creationId="{41825E9A-DF3E-44B2-A2BB-5D3F04B1C432}"/>
          </ac:spMkLst>
        </pc:spChg>
      </pc:sldChg>
      <pc:sldChg chg="addSp delSp modSp add mod addCm modCm">
        <pc:chgData name="O'Hagan. Sinead (Contractor - Ernst &amp; Young)" userId="37e0efa1-0107-4a6a-a201-5949a9329ddf" providerId="ADAL" clId="{92E5A1EA-CAD8-400A-8CA4-0AC8F95E864E}" dt="2022-06-09T10:45:14.339" v="391" actId="20577"/>
        <pc:sldMkLst>
          <pc:docMk/>
          <pc:sldMk cId="869737009" sldId="257308"/>
        </pc:sldMkLst>
        <pc:spChg chg="mod">
          <ac:chgData name="O'Hagan. Sinead (Contractor - Ernst &amp; Young)" userId="37e0efa1-0107-4a6a-a201-5949a9329ddf" providerId="ADAL" clId="{92E5A1EA-CAD8-400A-8CA4-0AC8F95E864E}" dt="2022-06-09T09:30:10.850" v="243"/>
          <ac:spMkLst>
            <pc:docMk/>
            <pc:sldMk cId="869737009" sldId="257308"/>
            <ac:spMk id="2" creationId="{C6DCFC3A-B2E8-4F48-8027-60CD710926B0}"/>
          </ac:spMkLst>
        </pc:spChg>
        <pc:spChg chg="add del mod">
          <ac:chgData name="O'Hagan. Sinead (Contractor - Ernst &amp; Young)" userId="37e0efa1-0107-4a6a-a201-5949a9329ddf" providerId="ADAL" clId="{92E5A1EA-CAD8-400A-8CA4-0AC8F95E864E}" dt="2022-06-09T09:30:16.886" v="245" actId="478"/>
          <ac:spMkLst>
            <pc:docMk/>
            <pc:sldMk cId="869737009" sldId="257308"/>
            <ac:spMk id="3" creationId="{A71B1A9A-2193-4352-B0FA-9AE18A547FBA}"/>
          </ac:spMkLst>
        </pc:spChg>
        <pc:spChg chg="del">
          <ac:chgData name="O'Hagan. Sinead (Contractor - Ernst &amp; Young)" userId="37e0efa1-0107-4a6a-a201-5949a9329ddf" providerId="ADAL" clId="{92E5A1EA-CAD8-400A-8CA4-0AC8F95E864E}" dt="2022-06-09T09:30:13.900" v="244" actId="478"/>
          <ac:spMkLst>
            <pc:docMk/>
            <pc:sldMk cId="869737009" sldId="257308"/>
            <ac:spMk id="4" creationId="{41825E9A-DF3E-44B2-A2BB-5D3F04B1C432}"/>
          </ac:spMkLst>
        </pc:spChg>
        <pc:spChg chg="add mod">
          <ac:chgData name="O'Hagan. Sinead (Contractor - Ernst &amp; Young)" userId="37e0efa1-0107-4a6a-a201-5949a9329ddf" providerId="ADAL" clId="{92E5A1EA-CAD8-400A-8CA4-0AC8F95E864E}" dt="2022-06-09T09:45:52.856" v="367" actId="14100"/>
          <ac:spMkLst>
            <pc:docMk/>
            <pc:sldMk cId="869737009" sldId="257308"/>
            <ac:spMk id="8" creationId="{B6E6A53E-BC2D-4568-8D84-21FD4C028BC8}"/>
          </ac:spMkLst>
        </pc:spChg>
        <pc:spChg chg="add mod">
          <ac:chgData name="O'Hagan. Sinead (Contractor - Ernst &amp; Young)" userId="37e0efa1-0107-4a6a-a201-5949a9329ddf" providerId="ADAL" clId="{92E5A1EA-CAD8-400A-8CA4-0AC8F95E864E}" dt="2022-06-09T09:46:19.945" v="371" actId="207"/>
          <ac:spMkLst>
            <pc:docMk/>
            <pc:sldMk cId="869737009" sldId="257308"/>
            <ac:spMk id="9" creationId="{EC1ABB2F-DE8D-4C9E-A89F-246E76BB68D2}"/>
          </ac:spMkLst>
        </pc:spChg>
        <pc:spChg chg="add mod">
          <ac:chgData name="O'Hagan. Sinead (Contractor - Ernst &amp; Young)" userId="37e0efa1-0107-4a6a-a201-5949a9329ddf" providerId="ADAL" clId="{92E5A1EA-CAD8-400A-8CA4-0AC8F95E864E}" dt="2022-06-09T09:30:35.322" v="246"/>
          <ac:spMkLst>
            <pc:docMk/>
            <pc:sldMk cId="869737009" sldId="257308"/>
            <ac:spMk id="10" creationId="{8122795E-C941-4509-B41C-30C9003612E5}"/>
          </ac:spMkLst>
        </pc:spChg>
        <pc:spChg chg="add mod">
          <ac:chgData name="O'Hagan. Sinead (Contractor - Ernst &amp; Young)" userId="37e0efa1-0107-4a6a-a201-5949a9329ddf" providerId="ADAL" clId="{92E5A1EA-CAD8-400A-8CA4-0AC8F95E864E}" dt="2022-06-09T09:45:33.732" v="364" actId="14100"/>
          <ac:spMkLst>
            <pc:docMk/>
            <pc:sldMk cId="869737009" sldId="257308"/>
            <ac:spMk id="11" creationId="{21D76DC2-1624-48F9-89BF-C18FC670CAD1}"/>
          </ac:spMkLst>
        </pc:spChg>
        <pc:spChg chg="add mod">
          <ac:chgData name="O'Hagan. Sinead (Contractor - Ernst &amp; Young)" userId="37e0efa1-0107-4a6a-a201-5949a9329ddf" providerId="ADAL" clId="{92E5A1EA-CAD8-400A-8CA4-0AC8F95E864E}" dt="2022-06-09T09:30:35.322" v="246"/>
          <ac:spMkLst>
            <pc:docMk/>
            <pc:sldMk cId="869737009" sldId="257308"/>
            <ac:spMk id="12" creationId="{BF197A6C-E43C-443B-999F-EAF9324CB1F8}"/>
          </ac:spMkLst>
        </pc:spChg>
        <pc:spChg chg="add mod">
          <ac:chgData name="O'Hagan. Sinead (Contractor - Ernst &amp; Young)" userId="37e0efa1-0107-4a6a-a201-5949a9329ddf" providerId="ADAL" clId="{92E5A1EA-CAD8-400A-8CA4-0AC8F95E864E}" dt="2022-06-09T09:30:35.322" v="246"/>
          <ac:spMkLst>
            <pc:docMk/>
            <pc:sldMk cId="869737009" sldId="257308"/>
            <ac:spMk id="13" creationId="{F4EADA55-5921-43D5-9A37-213C797E8360}"/>
          </ac:spMkLst>
        </pc:spChg>
        <pc:spChg chg="add mod">
          <ac:chgData name="O'Hagan. Sinead (Contractor - Ernst &amp; Young)" userId="37e0efa1-0107-4a6a-a201-5949a9329ddf" providerId="ADAL" clId="{92E5A1EA-CAD8-400A-8CA4-0AC8F95E864E}" dt="2022-06-09T09:30:35.322" v="246"/>
          <ac:spMkLst>
            <pc:docMk/>
            <pc:sldMk cId="869737009" sldId="257308"/>
            <ac:spMk id="14" creationId="{431F93A3-017E-48DB-B50E-3F3135447CE1}"/>
          </ac:spMkLst>
        </pc:spChg>
        <pc:spChg chg="add mod">
          <ac:chgData name="O'Hagan. Sinead (Contractor - Ernst &amp; Young)" userId="37e0efa1-0107-4a6a-a201-5949a9329ddf" providerId="ADAL" clId="{92E5A1EA-CAD8-400A-8CA4-0AC8F95E864E}" dt="2022-06-09T09:30:35.322" v="246"/>
          <ac:spMkLst>
            <pc:docMk/>
            <pc:sldMk cId="869737009" sldId="257308"/>
            <ac:spMk id="16" creationId="{8475ED51-6C7B-4E46-88EF-7B72BF48D90C}"/>
          </ac:spMkLst>
        </pc:spChg>
        <pc:spChg chg="add mod">
          <ac:chgData name="O'Hagan. Sinead (Contractor - Ernst &amp; Young)" userId="37e0efa1-0107-4a6a-a201-5949a9329ddf" providerId="ADAL" clId="{92E5A1EA-CAD8-400A-8CA4-0AC8F95E864E}" dt="2022-06-09T09:31:03.672" v="303" actId="1036"/>
          <ac:spMkLst>
            <pc:docMk/>
            <pc:sldMk cId="869737009" sldId="257308"/>
            <ac:spMk id="17" creationId="{FE6B5B2C-A55E-4021-8CAA-2F655FCF6E6B}"/>
          </ac:spMkLst>
        </pc:spChg>
        <pc:spChg chg="add mod">
          <ac:chgData name="O'Hagan. Sinead (Contractor - Ernst &amp; Young)" userId="37e0efa1-0107-4a6a-a201-5949a9329ddf" providerId="ADAL" clId="{92E5A1EA-CAD8-400A-8CA4-0AC8F95E864E}" dt="2022-06-09T09:31:03.672" v="303" actId="1036"/>
          <ac:spMkLst>
            <pc:docMk/>
            <pc:sldMk cId="869737009" sldId="257308"/>
            <ac:spMk id="18" creationId="{906BE913-649E-4C35-AE3C-1060CC3002B6}"/>
          </ac:spMkLst>
        </pc:spChg>
        <pc:spChg chg="add mod">
          <ac:chgData name="O'Hagan. Sinead (Contractor - Ernst &amp; Young)" userId="37e0efa1-0107-4a6a-a201-5949a9329ddf" providerId="ADAL" clId="{92E5A1EA-CAD8-400A-8CA4-0AC8F95E864E}" dt="2022-06-09T09:31:03.672" v="303" actId="1036"/>
          <ac:spMkLst>
            <pc:docMk/>
            <pc:sldMk cId="869737009" sldId="257308"/>
            <ac:spMk id="19" creationId="{2C428A18-266C-4C5E-A49D-FD027D84F781}"/>
          </ac:spMkLst>
        </pc:spChg>
        <pc:spChg chg="add mod">
          <ac:chgData name="O'Hagan. Sinead (Contractor - Ernst &amp; Young)" userId="37e0efa1-0107-4a6a-a201-5949a9329ddf" providerId="ADAL" clId="{92E5A1EA-CAD8-400A-8CA4-0AC8F95E864E}" dt="2022-06-09T09:30:35.322" v="246"/>
          <ac:spMkLst>
            <pc:docMk/>
            <pc:sldMk cId="869737009" sldId="257308"/>
            <ac:spMk id="20" creationId="{F80F3DB1-E6EA-47EC-9371-949E0A1364CB}"/>
          </ac:spMkLst>
        </pc:spChg>
        <pc:spChg chg="add mod">
          <ac:chgData name="O'Hagan. Sinead (Contractor - Ernst &amp; Young)" userId="37e0efa1-0107-4a6a-a201-5949a9329ddf" providerId="ADAL" clId="{92E5A1EA-CAD8-400A-8CA4-0AC8F95E864E}" dt="2022-06-09T09:30:35.322" v="246"/>
          <ac:spMkLst>
            <pc:docMk/>
            <pc:sldMk cId="869737009" sldId="257308"/>
            <ac:spMk id="21" creationId="{36266BC1-5D64-49B8-916D-EBA950332EFD}"/>
          </ac:spMkLst>
        </pc:spChg>
        <pc:spChg chg="add mod">
          <ac:chgData name="O'Hagan. Sinead (Contractor - Ernst &amp; Young)" userId="37e0efa1-0107-4a6a-a201-5949a9329ddf" providerId="ADAL" clId="{92E5A1EA-CAD8-400A-8CA4-0AC8F95E864E}" dt="2022-06-09T09:30:35.322" v="246"/>
          <ac:spMkLst>
            <pc:docMk/>
            <pc:sldMk cId="869737009" sldId="257308"/>
            <ac:spMk id="22" creationId="{872B635B-6505-4B6F-85E7-9C86022B6C2D}"/>
          </ac:spMkLst>
        </pc:spChg>
        <pc:spChg chg="add mod">
          <ac:chgData name="O'Hagan. Sinead (Contractor - Ernst &amp; Young)" userId="37e0efa1-0107-4a6a-a201-5949a9329ddf" providerId="ADAL" clId="{92E5A1EA-CAD8-400A-8CA4-0AC8F95E864E}" dt="2022-06-09T09:30:35.322" v="246"/>
          <ac:spMkLst>
            <pc:docMk/>
            <pc:sldMk cId="869737009" sldId="257308"/>
            <ac:spMk id="23" creationId="{2363AFF5-8DE4-4847-B216-DB2982521510}"/>
          </ac:spMkLst>
        </pc:spChg>
        <pc:spChg chg="add mod">
          <ac:chgData name="O'Hagan. Sinead (Contractor - Ernst &amp; Young)" userId="37e0efa1-0107-4a6a-a201-5949a9329ddf" providerId="ADAL" clId="{92E5A1EA-CAD8-400A-8CA4-0AC8F95E864E}" dt="2022-06-09T09:44:33.580" v="346" actId="207"/>
          <ac:spMkLst>
            <pc:docMk/>
            <pc:sldMk cId="869737009" sldId="257308"/>
            <ac:spMk id="24" creationId="{086234E1-0748-4033-834C-77A521E01E5C}"/>
          </ac:spMkLst>
        </pc:spChg>
        <pc:spChg chg="add mod">
          <ac:chgData name="O'Hagan. Sinead (Contractor - Ernst &amp; Young)" userId="37e0efa1-0107-4a6a-a201-5949a9329ddf" providerId="ADAL" clId="{92E5A1EA-CAD8-400A-8CA4-0AC8F95E864E}" dt="2022-06-09T09:44:33.580" v="346" actId="207"/>
          <ac:spMkLst>
            <pc:docMk/>
            <pc:sldMk cId="869737009" sldId="257308"/>
            <ac:spMk id="25" creationId="{63AF80C2-CB14-4E9D-9CF6-8783FB5DF366}"/>
          </ac:spMkLst>
        </pc:spChg>
        <pc:spChg chg="add mod">
          <ac:chgData name="O'Hagan. Sinead (Contractor - Ernst &amp; Young)" userId="37e0efa1-0107-4a6a-a201-5949a9329ddf" providerId="ADAL" clId="{92E5A1EA-CAD8-400A-8CA4-0AC8F95E864E}" dt="2022-06-09T09:44:33.580" v="346" actId="207"/>
          <ac:spMkLst>
            <pc:docMk/>
            <pc:sldMk cId="869737009" sldId="257308"/>
            <ac:spMk id="26" creationId="{4E4B4A1C-BF0C-44E5-9812-9089A218205E}"/>
          </ac:spMkLst>
        </pc:spChg>
        <pc:spChg chg="add mod">
          <ac:chgData name="O'Hagan. Sinead (Contractor - Ernst &amp; Young)" userId="37e0efa1-0107-4a6a-a201-5949a9329ddf" providerId="ADAL" clId="{92E5A1EA-CAD8-400A-8CA4-0AC8F95E864E}" dt="2022-06-09T09:44:33.580" v="346" actId="207"/>
          <ac:spMkLst>
            <pc:docMk/>
            <pc:sldMk cId="869737009" sldId="257308"/>
            <ac:spMk id="27" creationId="{A90668EF-37C6-4487-98B3-A24A39878311}"/>
          </ac:spMkLst>
        </pc:spChg>
        <pc:spChg chg="add mod">
          <ac:chgData name="O'Hagan. Sinead (Contractor - Ernst &amp; Young)" userId="37e0efa1-0107-4a6a-a201-5949a9329ddf" providerId="ADAL" clId="{92E5A1EA-CAD8-400A-8CA4-0AC8F95E864E}" dt="2022-06-09T09:45:04.493" v="355" actId="403"/>
          <ac:spMkLst>
            <pc:docMk/>
            <pc:sldMk cId="869737009" sldId="257308"/>
            <ac:spMk id="28" creationId="{16FF8F10-73B0-48A8-A38E-75A07C15763F}"/>
          </ac:spMkLst>
        </pc:spChg>
        <pc:spChg chg="add mod">
          <ac:chgData name="O'Hagan. Sinead (Contractor - Ernst &amp; Young)" userId="37e0efa1-0107-4a6a-a201-5949a9329ddf" providerId="ADAL" clId="{92E5A1EA-CAD8-400A-8CA4-0AC8F95E864E}" dt="2022-06-09T09:30:35.322" v="246"/>
          <ac:spMkLst>
            <pc:docMk/>
            <pc:sldMk cId="869737009" sldId="257308"/>
            <ac:spMk id="29" creationId="{EEC88EF4-5B46-40D5-B4DC-20C23D2FED71}"/>
          </ac:spMkLst>
        </pc:spChg>
        <pc:spChg chg="add mod">
          <ac:chgData name="O'Hagan. Sinead (Contractor - Ernst &amp; Young)" userId="37e0efa1-0107-4a6a-a201-5949a9329ddf" providerId="ADAL" clId="{92E5A1EA-CAD8-400A-8CA4-0AC8F95E864E}" dt="2022-06-09T09:30:35.322" v="246"/>
          <ac:spMkLst>
            <pc:docMk/>
            <pc:sldMk cId="869737009" sldId="257308"/>
            <ac:spMk id="30" creationId="{34CD8468-A3AC-495C-BBB5-6EA6A8AA1D6E}"/>
          </ac:spMkLst>
        </pc:spChg>
        <pc:spChg chg="add mod">
          <ac:chgData name="O'Hagan. Sinead (Contractor - Ernst &amp; Young)" userId="37e0efa1-0107-4a6a-a201-5949a9329ddf" providerId="ADAL" clId="{92E5A1EA-CAD8-400A-8CA4-0AC8F95E864E}" dt="2022-06-09T09:30:35.322" v="246"/>
          <ac:spMkLst>
            <pc:docMk/>
            <pc:sldMk cId="869737009" sldId="257308"/>
            <ac:spMk id="31" creationId="{77F2F0DB-FEEA-4A8B-99B1-C36432A40BC6}"/>
          </ac:spMkLst>
        </pc:spChg>
        <pc:spChg chg="add mod">
          <ac:chgData name="O'Hagan. Sinead (Contractor - Ernst &amp; Young)" userId="37e0efa1-0107-4a6a-a201-5949a9329ddf" providerId="ADAL" clId="{92E5A1EA-CAD8-400A-8CA4-0AC8F95E864E}" dt="2022-06-09T09:30:35.322" v="246"/>
          <ac:spMkLst>
            <pc:docMk/>
            <pc:sldMk cId="869737009" sldId="257308"/>
            <ac:spMk id="32" creationId="{40287278-4378-49BD-916E-956BBF21B4B2}"/>
          </ac:spMkLst>
        </pc:spChg>
        <pc:spChg chg="add mod">
          <ac:chgData name="O'Hagan. Sinead (Contractor - Ernst &amp; Young)" userId="37e0efa1-0107-4a6a-a201-5949a9329ddf" providerId="ADAL" clId="{92E5A1EA-CAD8-400A-8CA4-0AC8F95E864E}" dt="2022-06-09T09:30:35.322" v="246"/>
          <ac:spMkLst>
            <pc:docMk/>
            <pc:sldMk cId="869737009" sldId="257308"/>
            <ac:spMk id="33" creationId="{EC022AB5-9CFB-4EE3-82E6-63461757F051}"/>
          </ac:spMkLst>
        </pc:spChg>
        <pc:spChg chg="add mod">
          <ac:chgData name="O'Hagan. Sinead (Contractor - Ernst &amp; Young)" userId="37e0efa1-0107-4a6a-a201-5949a9329ddf" providerId="ADAL" clId="{92E5A1EA-CAD8-400A-8CA4-0AC8F95E864E}" dt="2022-06-09T09:30:35.322" v="246"/>
          <ac:spMkLst>
            <pc:docMk/>
            <pc:sldMk cId="869737009" sldId="257308"/>
            <ac:spMk id="34" creationId="{E38D18BD-D7ED-4B6F-902C-236278FA0753}"/>
          </ac:spMkLst>
        </pc:spChg>
        <pc:spChg chg="add mod">
          <ac:chgData name="O'Hagan. Sinead (Contractor - Ernst &amp; Young)" userId="37e0efa1-0107-4a6a-a201-5949a9329ddf" providerId="ADAL" clId="{92E5A1EA-CAD8-400A-8CA4-0AC8F95E864E}" dt="2022-06-09T09:30:35.322" v="246"/>
          <ac:spMkLst>
            <pc:docMk/>
            <pc:sldMk cId="869737009" sldId="257308"/>
            <ac:spMk id="35" creationId="{9996B0BC-533C-47F5-8CAE-9517D2E95023}"/>
          </ac:spMkLst>
        </pc:spChg>
        <pc:spChg chg="add mod">
          <ac:chgData name="O'Hagan. Sinead (Contractor - Ernst &amp; Young)" userId="37e0efa1-0107-4a6a-a201-5949a9329ddf" providerId="ADAL" clId="{92E5A1EA-CAD8-400A-8CA4-0AC8F95E864E}" dt="2022-06-09T09:30:35.322" v="246"/>
          <ac:spMkLst>
            <pc:docMk/>
            <pc:sldMk cId="869737009" sldId="257308"/>
            <ac:spMk id="36" creationId="{AFA9FCF3-2116-4DE8-A0CB-F287C1193141}"/>
          </ac:spMkLst>
        </pc:spChg>
        <pc:spChg chg="add mod">
          <ac:chgData name="O'Hagan. Sinead (Contractor - Ernst &amp; Young)" userId="37e0efa1-0107-4a6a-a201-5949a9329ddf" providerId="ADAL" clId="{92E5A1EA-CAD8-400A-8CA4-0AC8F95E864E}" dt="2022-06-09T09:45:22.602" v="360" actId="14100"/>
          <ac:spMkLst>
            <pc:docMk/>
            <pc:sldMk cId="869737009" sldId="257308"/>
            <ac:spMk id="37" creationId="{C5705680-0D67-4476-808D-279CDFB8AF39}"/>
          </ac:spMkLst>
        </pc:spChg>
        <pc:spChg chg="add mod">
          <ac:chgData name="O'Hagan. Sinead (Contractor - Ernst &amp; Young)" userId="37e0efa1-0107-4a6a-a201-5949a9329ddf" providerId="ADAL" clId="{92E5A1EA-CAD8-400A-8CA4-0AC8F95E864E}" dt="2022-06-09T09:45:27.981" v="362" actId="14100"/>
          <ac:spMkLst>
            <pc:docMk/>
            <pc:sldMk cId="869737009" sldId="257308"/>
            <ac:spMk id="38" creationId="{9C0ECC14-AFBE-4075-B946-271FD04905E8}"/>
          </ac:spMkLst>
        </pc:spChg>
        <pc:spChg chg="add mod">
          <ac:chgData name="O'Hagan. Sinead (Contractor - Ernst &amp; Young)" userId="37e0efa1-0107-4a6a-a201-5949a9329ddf" providerId="ADAL" clId="{92E5A1EA-CAD8-400A-8CA4-0AC8F95E864E}" dt="2022-06-09T09:45:39.357" v="366" actId="14100"/>
          <ac:spMkLst>
            <pc:docMk/>
            <pc:sldMk cId="869737009" sldId="257308"/>
            <ac:spMk id="39" creationId="{87DA2EFF-A58D-4A7C-8620-8E0B56467E26}"/>
          </ac:spMkLst>
        </pc:spChg>
        <pc:spChg chg="add mod">
          <ac:chgData name="O'Hagan. Sinead (Contractor - Ernst &amp; Young)" userId="37e0efa1-0107-4a6a-a201-5949a9329ddf" providerId="ADAL" clId="{92E5A1EA-CAD8-400A-8CA4-0AC8F95E864E}" dt="2022-06-09T09:30:35.322" v="246"/>
          <ac:spMkLst>
            <pc:docMk/>
            <pc:sldMk cId="869737009" sldId="257308"/>
            <ac:spMk id="40" creationId="{DB012CF6-598B-4F01-8974-8FCCCF89B5DC}"/>
          </ac:spMkLst>
        </pc:spChg>
        <pc:spChg chg="add mod">
          <ac:chgData name="O'Hagan. Sinead (Contractor - Ernst &amp; Young)" userId="37e0efa1-0107-4a6a-a201-5949a9329ddf" providerId="ADAL" clId="{92E5A1EA-CAD8-400A-8CA4-0AC8F95E864E}" dt="2022-06-09T09:44:33.580" v="346" actId="207"/>
          <ac:spMkLst>
            <pc:docMk/>
            <pc:sldMk cId="869737009" sldId="257308"/>
            <ac:spMk id="41" creationId="{96FC4C69-AB10-4A6C-BDFE-1CA849406E1A}"/>
          </ac:spMkLst>
        </pc:spChg>
        <pc:spChg chg="add mod">
          <ac:chgData name="O'Hagan. Sinead (Contractor - Ernst &amp; Young)" userId="37e0efa1-0107-4a6a-a201-5949a9329ddf" providerId="ADAL" clId="{92E5A1EA-CAD8-400A-8CA4-0AC8F95E864E}" dt="2022-06-09T09:30:35.322" v="246"/>
          <ac:spMkLst>
            <pc:docMk/>
            <pc:sldMk cId="869737009" sldId="257308"/>
            <ac:spMk id="42" creationId="{EB6F22E3-422E-4A1E-8FC3-B7DF5743931C}"/>
          </ac:spMkLst>
        </pc:spChg>
        <pc:spChg chg="add mod">
          <ac:chgData name="O'Hagan. Sinead (Contractor - Ernst &amp; Young)" userId="37e0efa1-0107-4a6a-a201-5949a9329ddf" providerId="ADAL" clId="{92E5A1EA-CAD8-400A-8CA4-0AC8F95E864E}" dt="2022-06-09T10:45:14.339" v="391" actId="20577"/>
          <ac:spMkLst>
            <pc:docMk/>
            <pc:sldMk cId="869737009" sldId="257308"/>
            <ac:spMk id="43" creationId="{939B50AA-BDF4-4932-960C-5A66A00B8A22}"/>
          </ac:spMkLst>
        </pc:spChg>
        <pc:spChg chg="add mod">
          <ac:chgData name="O'Hagan. Sinead (Contractor - Ernst &amp; Young)" userId="37e0efa1-0107-4a6a-a201-5949a9329ddf" providerId="ADAL" clId="{92E5A1EA-CAD8-400A-8CA4-0AC8F95E864E}" dt="2022-06-09T09:30:35.322" v="246"/>
          <ac:spMkLst>
            <pc:docMk/>
            <pc:sldMk cId="869737009" sldId="257308"/>
            <ac:spMk id="44" creationId="{5EA43C08-09C6-42F5-B329-B8354A2E5EF7}"/>
          </ac:spMkLst>
        </pc:spChg>
        <pc:spChg chg="add mod">
          <ac:chgData name="O'Hagan. Sinead (Contractor - Ernst &amp; Young)" userId="37e0efa1-0107-4a6a-a201-5949a9329ddf" providerId="ADAL" clId="{92E5A1EA-CAD8-400A-8CA4-0AC8F95E864E}" dt="2022-06-09T09:30:35.322" v="246"/>
          <ac:spMkLst>
            <pc:docMk/>
            <pc:sldMk cId="869737009" sldId="257308"/>
            <ac:spMk id="45" creationId="{4CD62EA2-37B0-4694-996A-4B1521E7A7F6}"/>
          </ac:spMkLst>
        </pc:spChg>
        <pc:spChg chg="add mod">
          <ac:chgData name="O'Hagan. Sinead (Contractor - Ernst &amp; Young)" userId="37e0efa1-0107-4a6a-a201-5949a9329ddf" providerId="ADAL" clId="{92E5A1EA-CAD8-400A-8CA4-0AC8F95E864E}" dt="2022-06-09T09:44:58.891" v="354" actId="403"/>
          <ac:spMkLst>
            <pc:docMk/>
            <pc:sldMk cId="869737009" sldId="257308"/>
            <ac:spMk id="46" creationId="{8261ECB8-5DEC-45BF-A43A-33D9D441AB3D}"/>
          </ac:spMkLst>
        </pc:spChg>
        <pc:spChg chg="add mod">
          <ac:chgData name="O'Hagan. Sinead (Contractor - Ernst &amp; Young)" userId="37e0efa1-0107-4a6a-a201-5949a9329ddf" providerId="ADAL" clId="{92E5A1EA-CAD8-400A-8CA4-0AC8F95E864E}" dt="2022-06-09T09:30:35.322" v="246"/>
          <ac:spMkLst>
            <pc:docMk/>
            <pc:sldMk cId="869737009" sldId="257308"/>
            <ac:spMk id="47" creationId="{AE27ADDE-CE37-4006-A6D1-834767181482}"/>
          </ac:spMkLst>
        </pc:spChg>
        <pc:spChg chg="add mod">
          <ac:chgData name="O'Hagan. Sinead (Contractor - Ernst &amp; Young)" userId="37e0efa1-0107-4a6a-a201-5949a9329ddf" providerId="ADAL" clId="{92E5A1EA-CAD8-400A-8CA4-0AC8F95E864E}" dt="2022-06-09T09:30:35.322" v="246"/>
          <ac:spMkLst>
            <pc:docMk/>
            <pc:sldMk cId="869737009" sldId="257308"/>
            <ac:spMk id="48" creationId="{AD61CCB3-E3C0-4DE8-B4A2-A0B52A213DC1}"/>
          </ac:spMkLst>
        </pc:spChg>
        <pc:spChg chg="add mod">
          <ac:chgData name="O'Hagan. Sinead (Contractor - Ernst &amp; Young)" userId="37e0efa1-0107-4a6a-a201-5949a9329ddf" providerId="ADAL" clId="{92E5A1EA-CAD8-400A-8CA4-0AC8F95E864E}" dt="2022-06-09T09:30:35.322" v="246"/>
          <ac:spMkLst>
            <pc:docMk/>
            <pc:sldMk cId="869737009" sldId="257308"/>
            <ac:spMk id="49" creationId="{6FC3E578-5CC6-49A8-AC49-C852E37654E1}"/>
          </ac:spMkLst>
        </pc:spChg>
        <pc:spChg chg="add mod">
          <ac:chgData name="O'Hagan. Sinead (Contractor - Ernst &amp; Young)" userId="37e0efa1-0107-4a6a-a201-5949a9329ddf" providerId="ADAL" clId="{92E5A1EA-CAD8-400A-8CA4-0AC8F95E864E}" dt="2022-06-09T09:30:35.322" v="246"/>
          <ac:spMkLst>
            <pc:docMk/>
            <pc:sldMk cId="869737009" sldId="257308"/>
            <ac:spMk id="50" creationId="{0FD2A6AA-4683-4099-AFA0-A76756CF6D10}"/>
          </ac:spMkLst>
        </pc:spChg>
        <pc:spChg chg="add mod">
          <ac:chgData name="O'Hagan. Sinead (Contractor - Ernst &amp; Young)" userId="37e0efa1-0107-4a6a-a201-5949a9329ddf" providerId="ADAL" clId="{92E5A1EA-CAD8-400A-8CA4-0AC8F95E864E}" dt="2022-06-09T09:30:35.322" v="246"/>
          <ac:spMkLst>
            <pc:docMk/>
            <pc:sldMk cId="869737009" sldId="257308"/>
            <ac:spMk id="51" creationId="{BB7D5B5F-06A2-4901-818D-99631FF22815}"/>
          </ac:spMkLst>
        </pc:spChg>
        <pc:spChg chg="add mod">
          <ac:chgData name="O'Hagan. Sinead (Contractor - Ernst &amp; Young)" userId="37e0efa1-0107-4a6a-a201-5949a9329ddf" providerId="ADAL" clId="{92E5A1EA-CAD8-400A-8CA4-0AC8F95E864E}" dt="2022-06-09T09:30:35.322" v="246"/>
          <ac:spMkLst>
            <pc:docMk/>
            <pc:sldMk cId="869737009" sldId="257308"/>
            <ac:spMk id="52" creationId="{0C2F4F46-9540-441E-AE7C-D91BB2A05802}"/>
          </ac:spMkLst>
        </pc:spChg>
        <pc:spChg chg="add mod">
          <ac:chgData name="O'Hagan. Sinead (Contractor - Ernst &amp; Young)" userId="37e0efa1-0107-4a6a-a201-5949a9329ddf" providerId="ADAL" clId="{92E5A1EA-CAD8-400A-8CA4-0AC8F95E864E}" dt="2022-06-09T09:30:35.322" v="246"/>
          <ac:spMkLst>
            <pc:docMk/>
            <pc:sldMk cId="869737009" sldId="257308"/>
            <ac:spMk id="53" creationId="{DA33DE6F-DE12-4038-80B8-CFE9FEEF6BD9}"/>
          </ac:spMkLst>
        </pc:spChg>
        <pc:spChg chg="add mod">
          <ac:chgData name="O'Hagan. Sinead (Contractor - Ernst &amp; Young)" userId="37e0efa1-0107-4a6a-a201-5949a9329ddf" providerId="ADAL" clId="{92E5A1EA-CAD8-400A-8CA4-0AC8F95E864E}" dt="2022-06-09T09:30:35.322" v="246"/>
          <ac:spMkLst>
            <pc:docMk/>
            <pc:sldMk cId="869737009" sldId="257308"/>
            <ac:spMk id="54" creationId="{C8669061-C2D6-446F-BED0-2F6529A03DDC}"/>
          </ac:spMkLst>
        </pc:spChg>
        <pc:spChg chg="add mod">
          <ac:chgData name="O'Hagan. Sinead (Contractor - Ernst &amp; Young)" userId="37e0efa1-0107-4a6a-a201-5949a9329ddf" providerId="ADAL" clId="{92E5A1EA-CAD8-400A-8CA4-0AC8F95E864E}" dt="2022-06-09T09:31:03.672" v="303" actId="1036"/>
          <ac:spMkLst>
            <pc:docMk/>
            <pc:sldMk cId="869737009" sldId="257308"/>
            <ac:spMk id="55" creationId="{2A85570D-26E0-4CAE-8D53-7FEF2BD30528}"/>
          </ac:spMkLst>
        </pc:spChg>
        <pc:spChg chg="add mod">
          <ac:chgData name="O'Hagan. Sinead (Contractor - Ernst &amp; Young)" userId="37e0efa1-0107-4a6a-a201-5949a9329ddf" providerId="ADAL" clId="{92E5A1EA-CAD8-400A-8CA4-0AC8F95E864E}" dt="2022-06-09T09:30:35.322" v="246"/>
          <ac:spMkLst>
            <pc:docMk/>
            <pc:sldMk cId="869737009" sldId="257308"/>
            <ac:spMk id="56" creationId="{D02C1019-5EB5-479C-A5E5-B02719F0E37D}"/>
          </ac:spMkLst>
        </pc:spChg>
        <pc:spChg chg="add mod">
          <ac:chgData name="O'Hagan. Sinead (Contractor - Ernst &amp; Young)" userId="37e0efa1-0107-4a6a-a201-5949a9329ddf" providerId="ADAL" clId="{92E5A1EA-CAD8-400A-8CA4-0AC8F95E864E}" dt="2022-06-09T09:46:19.290" v="370" actId="1038"/>
          <ac:spMkLst>
            <pc:docMk/>
            <pc:sldMk cId="869737009" sldId="257308"/>
            <ac:spMk id="57" creationId="{317596E5-24FD-4C9B-8743-AE0689141C1F}"/>
          </ac:spMkLst>
        </pc:spChg>
        <pc:graphicFrameChg chg="add mod">
          <ac:chgData name="O'Hagan. Sinead (Contractor - Ernst &amp; Young)" userId="37e0efa1-0107-4a6a-a201-5949a9329ddf" providerId="ADAL" clId="{92E5A1EA-CAD8-400A-8CA4-0AC8F95E864E}" dt="2022-06-09T09:30:35.322" v="246"/>
          <ac:graphicFrameMkLst>
            <pc:docMk/>
            <pc:sldMk cId="869737009" sldId="257308"/>
            <ac:graphicFrameMk id="5" creationId="{6670DAB7-7CAE-4BEA-8DEA-221A5B41A1B8}"/>
          </ac:graphicFrameMkLst>
        </pc:graphicFrameChg>
        <pc:graphicFrameChg chg="add mod">
          <ac:chgData name="O'Hagan. Sinead (Contractor - Ernst &amp; Young)" userId="37e0efa1-0107-4a6a-a201-5949a9329ddf" providerId="ADAL" clId="{92E5A1EA-CAD8-400A-8CA4-0AC8F95E864E}" dt="2022-06-09T09:30:35.322" v="246"/>
          <ac:graphicFrameMkLst>
            <pc:docMk/>
            <pc:sldMk cId="869737009" sldId="257308"/>
            <ac:graphicFrameMk id="6" creationId="{2308C7B6-B83E-42A9-A39B-7B6889F70E71}"/>
          </ac:graphicFrameMkLst>
        </pc:graphicFrameChg>
        <pc:graphicFrameChg chg="add mod">
          <ac:chgData name="O'Hagan. Sinead (Contractor - Ernst &amp; Young)" userId="37e0efa1-0107-4a6a-a201-5949a9329ddf" providerId="ADAL" clId="{92E5A1EA-CAD8-400A-8CA4-0AC8F95E864E}" dt="2022-06-09T09:30:35.322" v="246"/>
          <ac:graphicFrameMkLst>
            <pc:docMk/>
            <pc:sldMk cId="869737009" sldId="257308"/>
            <ac:graphicFrameMk id="7" creationId="{37062EB4-A15E-429A-A150-E35CC823BA50}"/>
          </ac:graphicFrameMkLst>
        </pc:graphicFrameChg>
        <pc:cxnChg chg="add mod">
          <ac:chgData name="O'Hagan. Sinead (Contractor - Ernst &amp; Young)" userId="37e0efa1-0107-4a6a-a201-5949a9329ddf" providerId="ADAL" clId="{92E5A1EA-CAD8-400A-8CA4-0AC8F95E864E}" dt="2022-06-09T09:30:35.322" v="246"/>
          <ac:cxnSpMkLst>
            <pc:docMk/>
            <pc:sldMk cId="869737009" sldId="257308"/>
            <ac:cxnSpMk id="15" creationId="{8DFEC1C8-FB51-43A9-9084-07F73B632638}"/>
          </ac:cxnSpMkLst>
        </pc:cxnChg>
      </pc:sldChg>
    </pc:docChg>
  </pc:docChgLst>
  <pc:docChgLst>
    <pc:chgData name="Power. Damien (Contractor - EY)" userId="S::contractor.damien.power@esb.ie::a1f4b3c0-1096-4948-b5f9-75b086acdda0" providerId="AD" clId="Web-{9A8E6D42-F78F-7F46-139E-120AEF7B57D4}"/>
    <pc:docChg chg="mod modSld">
      <pc:chgData name="Power. Damien (Contractor - EY)" userId="S::contractor.damien.power@esb.ie::a1f4b3c0-1096-4948-b5f9-75b086acdda0" providerId="AD" clId="Web-{9A8E6D42-F78F-7F46-139E-120AEF7B57D4}" dt="2023-08-03T13:35:47.402" v="357"/>
      <pc:docMkLst>
        <pc:docMk/>
      </pc:docMkLst>
      <pc:sldChg chg="modSp">
        <pc:chgData name="Power. Damien (Contractor - EY)" userId="S::contractor.damien.power@esb.ie::a1f4b3c0-1096-4948-b5f9-75b086acdda0" providerId="AD" clId="Web-{9A8E6D42-F78F-7F46-139E-120AEF7B57D4}" dt="2023-08-03T13:35:24.183" v="355" actId="20577"/>
        <pc:sldMkLst>
          <pc:docMk/>
          <pc:sldMk cId="2678521947" sldId="257306"/>
        </pc:sldMkLst>
        <pc:spChg chg="mod">
          <ac:chgData name="Power. Damien (Contractor - EY)" userId="S::contractor.damien.power@esb.ie::a1f4b3c0-1096-4948-b5f9-75b086acdda0" providerId="AD" clId="Web-{9A8E6D42-F78F-7F46-139E-120AEF7B57D4}" dt="2023-08-03T13:35:24.183" v="355" actId="20577"/>
          <ac:spMkLst>
            <pc:docMk/>
            <pc:sldMk cId="2678521947" sldId="257306"/>
            <ac:spMk id="4" creationId="{41825E9A-DF3E-44B2-A2BB-5D3F04B1C432}"/>
          </ac:spMkLst>
        </pc:spChg>
      </pc:sldChg>
      <pc:sldChg chg="modSp">
        <pc:chgData name="Power. Damien (Contractor - EY)" userId="S::contractor.damien.power@esb.ie::a1f4b3c0-1096-4948-b5f9-75b086acdda0" providerId="AD" clId="Web-{9A8E6D42-F78F-7F46-139E-120AEF7B57D4}" dt="2023-08-03T13:34:02.712" v="349" actId="20577"/>
        <pc:sldMkLst>
          <pc:docMk/>
          <pc:sldMk cId="197788441" sldId="257307"/>
        </pc:sldMkLst>
        <pc:spChg chg="mod">
          <ac:chgData name="Power. Damien (Contractor - EY)" userId="S::contractor.damien.power@esb.ie::a1f4b3c0-1096-4948-b5f9-75b086acdda0" providerId="AD" clId="Web-{9A8E6D42-F78F-7F46-139E-120AEF7B57D4}" dt="2023-08-03T13:34:02.712" v="349" actId="20577"/>
          <ac:spMkLst>
            <pc:docMk/>
            <pc:sldMk cId="197788441" sldId="257307"/>
            <ac:spMk id="4" creationId="{41825E9A-DF3E-44B2-A2BB-5D3F04B1C432}"/>
          </ac:spMkLst>
        </pc:spChg>
      </pc:sldChg>
      <pc:sldChg chg="addSp delSp modSp modCm">
        <pc:chgData name="Power. Damien (Contractor - EY)" userId="S::contractor.damien.power@esb.ie::a1f4b3c0-1096-4948-b5f9-75b086acdda0" providerId="AD" clId="Web-{9A8E6D42-F78F-7F46-139E-120AEF7B57D4}" dt="2023-08-03T13:35:47.402" v="357"/>
        <pc:sldMkLst>
          <pc:docMk/>
          <pc:sldMk cId="869737009" sldId="257308"/>
        </pc:sldMkLst>
        <pc:spChg chg="mod">
          <ac:chgData name="Power. Damien (Contractor - EY)" userId="S::contractor.damien.power@esb.ie::a1f4b3c0-1096-4948-b5f9-75b086acdda0" providerId="AD" clId="Web-{9A8E6D42-F78F-7F46-139E-120AEF7B57D4}" dt="2023-08-03T12:39:38.665" v="265" actId="14100"/>
          <ac:spMkLst>
            <pc:docMk/>
            <pc:sldMk cId="869737009" sldId="257308"/>
            <ac:spMk id="3" creationId="{4EA47BD0-A51A-4FC4-8E2C-1AD8AE0DEF64}"/>
          </ac:spMkLst>
        </pc:spChg>
        <pc:spChg chg="mod">
          <ac:chgData name="Power. Damien (Contractor - EY)" userId="S::contractor.damien.power@esb.ie::a1f4b3c0-1096-4948-b5f9-75b086acdda0" providerId="AD" clId="Web-{9A8E6D42-F78F-7F46-139E-120AEF7B57D4}" dt="2023-08-03T12:33:15.075" v="229"/>
          <ac:spMkLst>
            <pc:docMk/>
            <pc:sldMk cId="869737009" sldId="257308"/>
            <ac:spMk id="8" creationId="{B6E6A53E-BC2D-4568-8D84-21FD4C028BC8}"/>
          </ac:spMkLst>
        </pc:spChg>
        <pc:spChg chg="mod">
          <ac:chgData name="Power. Damien (Contractor - EY)" userId="S::contractor.damien.power@esb.ie::a1f4b3c0-1096-4948-b5f9-75b086acdda0" providerId="AD" clId="Web-{9A8E6D42-F78F-7F46-139E-120AEF7B57D4}" dt="2023-08-03T12:19:52.832" v="131" actId="1076"/>
          <ac:spMkLst>
            <pc:docMk/>
            <pc:sldMk cId="869737009" sldId="257308"/>
            <ac:spMk id="9" creationId="{EC1ABB2F-DE8D-4C9E-A89F-246E76BB68D2}"/>
          </ac:spMkLst>
        </pc:spChg>
        <pc:spChg chg="mod">
          <ac:chgData name="Power. Damien (Contractor - EY)" userId="S::contractor.damien.power@esb.ie::a1f4b3c0-1096-4948-b5f9-75b086acdda0" providerId="AD" clId="Web-{9A8E6D42-F78F-7F46-139E-120AEF7B57D4}" dt="2023-08-03T13:23:05.441" v="269" actId="1076"/>
          <ac:spMkLst>
            <pc:docMk/>
            <pc:sldMk cId="869737009" sldId="257308"/>
            <ac:spMk id="10" creationId="{8122795E-C941-4509-B41C-30C9003612E5}"/>
          </ac:spMkLst>
        </pc:spChg>
        <pc:spChg chg="mod">
          <ac:chgData name="Power. Damien (Contractor - EY)" userId="S::contractor.damien.power@esb.ie::a1f4b3c0-1096-4948-b5f9-75b086acdda0" providerId="AD" clId="Web-{9A8E6D42-F78F-7F46-139E-120AEF7B57D4}" dt="2023-08-03T12:34:45.359" v="240" actId="20577"/>
          <ac:spMkLst>
            <pc:docMk/>
            <pc:sldMk cId="869737009" sldId="257308"/>
            <ac:spMk id="11" creationId="{21D76DC2-1624-48F9-89BF-C18FC670CAD1}"/>
          </ac:spMkLst>
        </pc:spChg>
        <pc:spChg chg="mod">
          <ac:chgData name="Power. Damien (Contractor - EY)" userId="S::contractor.damien.power@esb.ie::a1f4b3c0-1096-4948-b5f9-75b086acdda0" providerId="AD" clId="Web-{9A8E6D42-F78F-7F46-139E-120AEF7B57D4}" dt="2023-08-03T12:13:21.242" v="2" actId="20577"/>
          <ac:spMkLst>
            <pc:docMk/>
            <pc:sldMk cId="869737009" sldId="257308"/>
            <ac:spMk id="12" creationId="{BF197A6C-E43C-443B-999F-EAF9324CB1F8}"/>
          </ac:spMkLst>
        </pc:spChg>
        <pc:spChg chg="mod">
          <ac:chgData name="Power. Damien (Contractor - EY)" userId="S::contractor.damien.power@esb.ie::a1f4b3c0-1096-4948-b5f9-75b086acdda0" providerId="AD" clId="Web-{9A8E6D42-F78F-7F46-139E-120AEF7B57D4}" dt="2023-08-03T12:34:15.436" v="232" actId="14100"/>
          <ac:spMkLst>
            <pc:docMk/>
            <pc:sldMk cId="869737009" sldId="257308"/>
            <ac:spMk id="13" creationId="{F4EADA55-5921-43D5-9A37-213C797E8360}"/>
          </ac:spMkLst>
        </pc:spChg>
        <pc:spChg chg="mod">
          <ac:chgData name="Power. Damien (Contractor - EY)" userId="S::contractor.damien.power@esb.ie::a1f4b3c0-1096-4948-b5f9-75b086acdda0" providerId="AD" clId="Web-{9A8E6D42-F78F-7F46-139E-120AEF7B57D4}" dt="2023-08-03T12:33:15.075" v="229"/>
          <ac:spMkLst>
            <pc:docMk/>
            <pc:sldMk cId="869737009" sldId="257308"/>
            <ac:spMk id="14" creationId="{431F93A3-017E-48DB-B50E-3F3135447CE1}"/>
          </ac:spMkLst>
        </pc:spChg>
        <pc:spChg chg="mod ord">
          <ac:chgData name="Power. Damien (Contractor - EY)" userId="S::contractor.damien.power@esb.ie::a1f4b3c0-1096-4948-b5f9-75b086acdda0" providerId="AD" clId="Web-{9A8E6D42-F78F-7F46-139E-120AEF7B57D4}" dt="2023-08-03T12:31:20.884" v="221" actId="1076"/>
          <ac:spMkLst>
            <pc:docMk/>
            <pc:sldMk cId="869737009" sldId="257308"/>
            <ac:spMk id="16" creationId="{8475ED51-6C7B-4E46-88EF-7B72BF48D90C}"/>
          </ac:spMkLst>
        </pc:spChg>
        <pc:spChg chg="del mod">
          <ac:chgData name="Power. Damien (Contractor - EY)" userId="S::contractor.damien.power@esb.ie::a1f4b3c0-1096-4948-b5f9-75b086acdda0" providerId="AD" clId="Web-{9A8E6D42-F78F-7F46-139E-120AEF7B57D4}" dt="2023-08-03T12:14:53.120" v="25"/>
          <ac:spMkLst>
            <pc:docMk/>
            <pc:sldMk cId="869737009" sldId="257308"/>
            <ac:spMk id="20" creationId="{F80F3DB1-E6EA-47EC-9371-949E0A1364CB}"/>
          </ac:spMkLst>
        </pc:spChg>
        <pc:spChg chg="add mod">
          <ac:chgData name="Power. Damien (Contractor - EY)" userId="S::contractor.damien.power@esb.ie::a1f4b3c0-1096-4948-b5f9-75b086acdda0" providerId="AD" clId="Web-{9A8E6D42-F78F-7F46-139E-120AEF7B57D4}" dt="2023-08-03T13:31:35.613" v="323" actId="1076"/>
          <ac:spMkLst>
            <pc:docMk/>
            <pc:sldMk cId="869737009" sldId="257308"/>
            <ac:spMk id="20" creationId="{FF704B0D-8235-7D7D-3147-18D01CB8F359}"/>
          </ac:spMkLst>
        </pc:spChg>
        <pc:spChg chg="mod">
          <ac:chgData name="Power. Damien (Contractor - EY)" userId="S::contractor.damien.power@esb.ie::a1f4b3c0-1096-4948-b5f9-75b086acdda0" providerId="AD" clId="Web-{9A8E6D42-F78F-7F46-139E-120AEF7B57D4}" dt="2023-08-03T12:33:15.075" v="229"/>
          <ac:spMkLst>
            <pc:docMk/>
            <pc:sldMk cId="869737009" sldId="257308"/>
            <ac:spMk id="21" creationId="{36266BC1-5D64-49B8-916D-EBA950332EFD}"/>
          </ac:spMkLst>
        </pc:spChg>
        <pc:spChg chg="del mod">
          <ac:chgData name="Power. Damien (Contractor - EY)" userId="S::contractor.damien.power@esb.ie::a1f4b3c0-1096-4948-b5f9-75b086acdda0" providerId="AD" clId="Web-{9A8E6D42-F78F-7F46-139E-120AEF7B57D4}" dt="2023-08-03T12:15:20.699" v="33"/>
          <ac:spMkLst>
            <pc:docMk/>
            <pc:sldMk cId="869737009" sldId="257308"/>
            <ac:spMk id="22" creationId="{872B635B-6505-4B6F-85E7-9C86022B6C2D}"/>
          </ac:spMkLst>
        </pc:spChg>
        <pc:spChg chg="add mod">
          <ac:chgData name="Power. Damien (Contractor - EY)" userId="S::contractor.damien.power@esb.ie::a1f4b3c0-1096-4948-b5f9-75b086acdda0" providerId="AD" clId="Web-{9A8E6D42-F78F-7F46-139E-120AEF7B57D4}" dt="2023-08-03T13:32:36.506" v="336" actId="1076"/>
          <ac:spMkLst>
            <pc:docMk/>
            <pc:sldMk cId="869737009" sldId="257308"/>
            <ac:spMk id="22" creationId="{D95808BE-9D7E-52B7-F776-CA8F9935163B}"/>
          </ac:spMkLst>
        </pc:spChg>
        <pc:spChg chg="del mod">
          <ac:chgData name="Power. Damien (Contractor - EY)" userId="S::contractor.damien.power@esb.ie::a1f4b3c0-1096-4948-b5f9-75b086acdda0" providerId="AD" clId="Web-{9A8E6D42-F78F-7F46-139E-120AEF7B57D4}" dt="2023-08-03T12:15:54.653" v="44"/>
          <ac:spMkLst>
            <pc:docMk/>
            <pc:sldMk cId="869737009" sldId="257308"/>
            <ac:spMk id="23" creationId="{2363AFF5-8DE4-4847-B216-DB2982521510}"/>
          </ac:spMkLst>
        </pc:spChg>
        <pc:spChg chg="mod">
          <ac:chgData name="Power. Damien (Contractor - EY)" userId="S::contractor.damien.power@esb.ie::a1f4b3c0-1096-4948-b5f9-75b086acdda0" providerId="AD" clId="Web-{9A8E6D42-F78F-7F46-139E-120AEF7B57D4}" dt="2023-08-03T12:25:21.342" v="162" actId="14100"/>
          <ac:spMkLst>
            <pc:docMk/>
            <pc:sldMk cId="869737009" sldId="257308"/>
            <ac:spMk id="24" creationId="{CAA07EDB-4515-D59A-B1AC-6A4081C6A612}"/>
          </ac:spMkLst>
        </pc:spChg>
        <pc:spChg chg="mod">
          <ac:chgData name="Power. Damien (Contractor - EY)" userId="S::contractor.damien.power@esb.ie::a1f4b3c0-1096-4948-b5f9-75b086acdda0" providerId="AD" clId="Web-{9A8E6D42-F78F-7F46-139E-120AEF7B57D4}" dt="2023-08-03T13:33:04.835" v="341" actId="20577"/>
          <ac:spMkLst>
            <pc:docMk/>
            <pc:sldMk cId="869737009" sldId="257308"/>
            <ac:spMk id="25" creationId="{31A4A400-E4CE-CA36-22DB-79FEC90A9657}"/>
          </ac:spMkLst>
        </pc:spChg>
        <pc:spChg chg="mod">
          <ac:chgData name="Power. Damien (Contractor - EY)" userId="S::contractor.damien.power@esb.ie::a1f4b3c0-1096-4948-b5f9-75b086acdda0" providerId="AD" clId="Web-{9A8E6D42-F78F-7F46-139E-120AEF7B57D4}" dt="2023-08-03T12:39:09.305" v="257" actId="1076"/>
          <ac:spMkLst>
            <pc:docMk/>
            <pc:sldMk cId="869737009" sldId="257308"/>
            <ac:spMk id="28" creationId="{16FF8F10-73B0-48A8-A38E-75A07C15763F}"/>
          </ac:spMkLst>
        </pc:spChg>
        <pc:spChg chg="del mod">
          <ac:chgData name="Power. Damien (Contractor - EY)" userId="S::contractor.damien.power@esb.ie::a1f4b3c0-1096-4948-b5f9-75b086acdda0" providerId="AD" clId="Web-{9A8E6D42-F78F-7F46-139E-120AEF7B57D4}" dt="2023-08-03T12:15:45.059" v="40"/>
          <ac:spMkLst>
            <pc:docMk/>
            <pc:sldMk cId="869737009" sldId="257308"/>
            <ac:spMk id="33" creationId="{EC022AB5-9CFB-4EE3-82E6-63461757F051}"/>
          </ac:spMkLst>
        </pc:spChg>
        <pc:spChg chg="mod">
          <ac:chgData name="Power. Damien (Contractor - EY)" userId="S::contractor.damien.power@esb.ie::a1f4b3c0-1096-4948-b5f9-75b086acdda0" providerId="AD" clId="Web-{9A8E6D42-F78F-7F46-139E-120AEF7B57D4}" dt="2023-08-03T12:28:24.286" v="191" actId="14100"/>
          <ac:spMkLst>
            <pc:docMk/>
            <pc:sldMk cId="869737009" sldId="257308"/>
            <ac:spMk id="34" creationId="{E38D18BD-D7ED-4B6F-902C-236278FA0753}"/>
          </ac:spMkLst>
        </pc:spChg>
        <pc:spChg chg="mod">
          <ac:chgData name="Power. Damien (Contractor - EY)" userId="S::contractor.damien.power@esb.ie::a1f4b3c0-1096-4948-b5f9-75b086acdda0" providerId="AD" clId="Web-{9A8E6D42-F78F-7F46-139E-120AEF7B57D4}" dt="2023-08-03T12:26:23.235" v="172" actId="14100"/>
          <ac:spMkLst>
            <pc:docMk/>
            <pc:sldMk cId="869737009" sldId="257308"/>
            <ac:spMk id="35" creationId="{9996B0BC-533C-47F5-8CAE-9517D2E95023}"/>
          </ac:spMkLst>
        </pc:spChg>
        <pc:spChg chg="del mod">
          <ac:chgData name="Power. Damien (Contractor - EY)" userId="S::contractor.damien.power@esb.ie::a1f4b3c0-1096-4948-b5f9-75b086acdda0" providerId="AD" clId="Web-{9A8E6D42-F78F-7F46-139E-120AEF7B57D4}" dt="2023-08-03T12:15:10.542" v="29"/>
          <ac:spMkLst>
            <pc:docMk/>
            <pc:sldMk cId="869737009" sldId="257308"/>
            <ac:spMk id="36" creationId="{AFA9FCF3-2116-4DE8-A0CB-F287C1193141}"/>
          </ac:spMkLst>
        </pc:spChg>
        <pc:spChg chg="mod">
          <ac:chgData name="Power. Damien (Contractor - EY)" userId="S::contractor.damien.power@esb.ie::a1f4b3c0-1096-4948-b5f9-75b086acdda0" providerId="AD" clId="Web-{9A8E6D42-F78F-7F46-139E-120AEF7B57D4}" dt="2023-08-03T13:33:21.960" v="345" actId="20577"/>
          <ac:spMkLst>
            <pc:docMk/>
            <pc:sldMk cId="869737009" sldId="257308"/>
            <ac:spMk id="37" creationId="{C5705680-0D67-4476-808D-279CDFB8AF39}"/>
          </ac:spMkLst>
        </pc:spChg>
        <pc:spChg chg="mod">
          <ac:chgData name="Power. Damien (Contractor - EY)" userId="S::contractor.damien.power@esb.ie::a1f4b3c0-1096-4948-b5f9-75b086acdda0" providerId="AD" clId="Web-{9A8E6D42-F78F-7F46-139E-120AEF7B57D4}" dt="2023-08-03T12:35:07.252" v="247" actId="1076"/>
          <ac:spMkLst>
            <pc:docMk/>
            <pc:sldMk cId="869737009" sldId="257308"/>
            <ac:spMk id="38" creationId="{9C0ECC14-AFBE-4075-B946-271FD04905E8}"/>
          </ac:spMkLst>
        </pc:spChg>
        <pc:spChg chg="mod">
          <ac:chgData name="Power. Damien (Contractor - EY)" userId="S::contractor.damien.power@esb.ie::a1f4b3c0-1096-4948-b5f9-75b086acdda0" providerId="AD" clId="Web-{9A8E6D42-F78F-7F46-139E-120AEF7B57D4}" dt="2023-08-03T12:35:23.079" v="251" actId="1076"/>
          <ac:spMkLst>
            <pc:docMk/>
            <pc:sldMk cId="869737009" sldId="257308"/>
            <ac:spMk id="39" creationId="{87DA2EFF-A58D-4A7C-8620-8E0B56467E26}"/>
          </ac:spMkLst>
        </pc:spChg>
        <pc:spChg chg="mod">
          <ac:chgData name="Power. Damien (Contractor - EY)" userId="S::contractor.damien.power@esb.ie::a1f4b3c0-1096-4948-b5f9-75b086acdda0" providerId="AD" clId="Web-{9A8E6D42-F78F-7F46-139E-120AEF7B57D4}" dt="2023-08-03T13:33:28.289" v="347" actId="20577"/>
          <ac:spMkLst>
            <pc:docMk/>
            <pc:sldMk cId="869737009" sldId="257308"/>
            <ac:spMk id="40" creationId="{DB012CF6-598B-4F01-8974-8FCCCF89B5DC}"/>
          </ac:spMkLst>
        </pc:spChg>
        <pc:spChg chg="mod">
          <ac:chgData name="Power. Damien (Contractor - EY)" userId="S::contractor.damien.power@esb.ie::a1f4b3c0-1096-4948-b5f9-75b086acdda0" providerId="AD" clId="Web-{9A8E6D42-F78F-7F46-139E-120AEF7B57D4}" dt="2023-08-03T12:33:41.701" v="231" actId="14100"/>
          <ac:spMkLst>
            <pc:docMk/>
            <pc:sldMk cId="869737009" sldId="257308"/>
            <ac:spMk id="42" creationId="{EB6F22E3-422E-4A1E-8FC3-B7DF5743931C}"/>
          </ac:spMkLst>
        </pc:spChg>
        <pc:spChg chg="mod">
          <ac:chgData name="Power. Damien (Contractor - EY)" userId="S::contractor.damien.power@esb.ie::a1f4b3c0-1096-4948-b5f9-75b086acdda0" providerId="AD" clId="Web-{9A8E6D42-F78F-7F46-139E-120AEF7B57D4}" dt="2023-08-03T13:33:18.132" v="343" actId="20577"/>
          <ac:spMkLst>
            <pc:docMk/>
            <pc:sldMk cId="869737009" sldId="257308"/>
            <ac:spMk id="43" creationId="{939B50AA-BDF4-4932-960C-5A66A00B8A22}"/>
          </ac:spMkLst>
        </pc:spChg>
        <pc:spChg chg="mod">
          <ac:chgData name="Power. Damien (Contractor - EY)" userId="S::contractor.damien.power@esb.ie::a1f4b3c0-1096-4948-b5f9-75b086acdda0" providerId="AD" clId="Web-{9A8E6D42-F78F-7F46-139E-120AEF7B57D4}" dt="2023-08-03T12:33:27.763" v="230" actId="14100"/>
          <ac:spMkLst>
            <pc:docMk/>
            <pc:sldMk cId="869737009" sldId="257308"/>
            <ac:spMk id="45" creationId="{4CD62EA2-37B0-4694-996A-4B1521E7A7F6}"/>
          </ac:spMkLst>
        </pc:spChg>
        <pc:spChg chg="mod">
          <ac:chgData name="Power. Damien (Contractor - EY)" userId="S::contractor.damien.power@esb.ie::a1f4b3c0-1096-4948-b5f9-75b086acdda0" providerId="AD" clId="Web-{9A8E6D42-F78F-7F46-139E-120AEF7B57D4}" dt="2023-08-03T13:32:59.444" v="339" actId="20577"/>
          <ac:spMkLst>
            <pc:docMk/>
            <pc:sldMk cId="869737009" sldId="257308"/>
            <ac:spMk id="46" creationId="{8261ECB8-5DEC-45BF-A43A-33D9D441AB3D}"/>
          </ac:spMkLst>
        </pc:spChg>
        <pc:spChg chg="mod">
          <ac:chgData name="Power. Damien (Contractor - EY)" userId="S::contractor.damien.power@esb.ie::a1f4b3c0-1096-4948-b5f9-75b086acdda0" providerId="AD" clId="Web-{9A8E6D42-F78F-7F46-139E-120AEF7B57D4}" dt="2023-08-03T12:26:16.156" v="170" actId="14100"/>
          <ac:spMkLst>
            <pc:docMk/>
            <pc:sldMk cId="869737009" sldId="257308"/>
            <ac:spMk id="47" creationId="{AE27ADDE-CE37-4006-A6D1-834767181482}"/>
          </ac:spMkLst>
        </pc:spChg>
        <pc:spChg chg="mod">
          <ac:chgData name="Power. Damien (Contractor - EY)" userId="S::contractor.damien.power@esb.ie::a1f4b3c0-1096-4948-b5f9-75b086acdda0" providerId="AD" clId="Web-{9A8E6D42-F78F-7F46-139E-120AEF7B57D4}" dt="2023-08-03T13:30:23.767" v="305"/>
          <ac:spMkLst>
            <pc:docMk/>
            <pc:sldMk cId="869737009" sldId="257308"/>
            <ac:spMk id="49" creationId="{52299285-A618-49A4-B7CE-2DBC611635BD}"/>
          </ac:spMkLst>
        </pc:spChg>
        <pc:spChg chg="mod">
          <ac:chgData name="Power. Damien (Contractor - EY)" userId="S::contractor.damien.power@esb.ie::a1f4b3c0-1096-4948-b5f9-75b086acdda0" providerId="AD" clId="Web-{9A8E6D42-F78F-7F46-139E-120AEF7B57D4}" dt="2023-08-03T13:30:23.767" v="304"/>
          <ac:spMkLst>
            <pc:docMk/>
            <pc:sldMk cId="869737009" sldId="257308"/>
            <ac:spMk id="50" creationId="{DEDC5969-CE60-4ABE-B404-992FA4B5D4B3}"/>
          </ac:spMkLst>
        </pc:spChg>
        <pc:spChg chg="mod">
          <ac:chgData name="Power. Damien (Contractor - EY)" userId="S::contractor.damien.power@esb.ie::a1f4b3c0-1096-4948-b5f9-75b086acdda0" providerId="AD" clId="Web-{9A8E6D42-F78F-7F46-139E-120AEF7B57D4}" dt="2023-08-03T13:30:23.767" v="303"/>
          <ac:spMkLst>
            <pc:docMk/>
            <pc:sldMk cId="869737009" sldId="257308"/>
            <ac:spMk id="51" creationId="{EC397523-892F-463A-AFBE-79B854C95CBF}"/>
          </ac:spMkLst>
        </pc:spChg>
        <pc:spChg chg="del">
          <ac:chgData name="Power. Damien (Contractor - EY)" userId="S::contractor.damien.power@esb.ie::a1f4b3c0-1096-4948-b5f9-75b086acdda0" providerId="AD" clId="Web-{9A8E6D42-F78F-7F46-139E-120AEF7B57D4}" dt="2023-08-03T12:13:48.227" v="4"/>
          <ac:spMkLst>
            <pc:docMk/>
            <pc:sldMk cId="869737009" sldId="257308"/>
            <ac:spMk id="52" creationId="{0C2F4F46-9540-441E-AE7C-D91BB2A05802}"/>
          </ac:spMkLst>
        </pc:spChg>
        <pc:spChg chg="del">
          <ac:chgData name="Power. Damien (Contractor - EY)" userId="S::contractor.damien.power@esb.ie::a1f4b3c0-1096-4948-b5f9-75b086acdda0" providerId="AD" clId="Web-{9A8E6D42-F78F-7F46-139E-120AEF7B57D4}" dt="2023-08-03T12:13:47.415" v="3"/>
          <ac:spMkLst>
            <pc:docMk/>
            <pc:sldMk cId="869737009" sldId="257308"/>
            <ac:spMk id="53" creationId="{DA33DE6F-DE12-4038-80B8-CFE9FEEF6BD9}"/>
          </ac:spMkLst>
        </pc:spChg>
        <pc:spChg chg="del">
          <ac:chgData name="Power. Damien (Contractor - EY)" userId="S::contractor.damien.power@esb.ie::a1f4b3c0-1096-4948-b5f9-75b086acdda0" providerId="AD" clId="Web-{9A8E6D42-F78F-7F46-139E-120AEF7B57D4}" dt="2023-08-03T12:13:49.196" v="5"/>
          <ac:spMkLst>
            <pc:docMk/>
            <pc:sldMk cId="869737009" sldId="257308"/>
            <ac:spMk id="54" creationId="{C8669061-C2D6-446F-BED0-2F6529A03DDC}"/>
          </ac:spMkLst>
        </pc:spChg>
        <pc:spChg chg="mod">
          <ac:chgData name="Power. Damien (Contractor - EY)" userId="S::contractor.damien.power@esb.ie::a1f4b3c0-1096-4948-b5f9-75b086acdda0" providerId="AD" clId="Web-{9A8E6D42-F78F-7F46-139E-120AEF7B57D4}" dt="2023-08-03T12:26:34.485" v="176" actId="14100"/>
          <ac:spMkLst>
            <pc:docMk/>
            <pc:sldMk cId="869737009" sldId="257308"/>
            <ac:spMk id="56" creationId="{D02C1019-5EB5-479C-A5E5-B02719F0E37D}"/>
          </ac:spMkLst>
        </pc:spChg>
        <pc:grpChg chg="mod">
          <ac:chgData name="Power. Damien (Contractor - EY)" userId="S::contractor.damien.power@esb.ie::a1f4b3c0-1096-4948-b5f9-75b086acdda0" providerId="AD" clId="Web-{9A8E6D42-F78F-7F46-139E-120AEF7B57D4}" dt="2023-08-03T12:17:58.032" v="54" actId="1076"/>
          <ac:grpSpMkLst>
            <pc:docMk/>
            <pc:sldMk cId="869737009" sldId="257308"/>
            <ac:grpSpMk id="4" creationId="{2F9BAE89-2A14-4432-8826-56B468238900}"/>
          </ac:grpSpMkLst>
        </pc:grpChg>
        <pc:grpChg chg="mod">
          <ac:chgData name="Power. Damien (Contractor - EY)" userId="S::contractor.damien.power@esb.ie::a1f4b3c0-1096-4948-b5f9-75b086acdda0" providerId="AD" clId="Web-{9A8E6D42-F78F-7F46-139E-120AEF7B57D4}" dt="2023-08-03T13:34:22.962" v="350" actId="1076"/>
          <ac:grpSpMkLst>
            <pc:docMk/>
            <pc:sldMk cId="869737009" sldId="257308"/>
            <ac:grpSpMk id="6" creationId="{72B056AB-B24C-7360-C569-69D959CE3990}"/>
          </ac:grpSpMkLst>
        </pc:grpChg>
        <pc:grpChg chg="add">
          <ac:chgData name="Power. Damien (Contractor - EY)" userId="S::contractor.damien.power@esb.ie::a1f4b3c0-1096-4948-b5f9-75b086acdda0" providerId="AD" clId="Web-{9A8E6D42-F78F-7F46-139E-120AEF7B57D4}" dt="2023-08-03T13:32:46.569" v="337"/>
          <ac:grpSpMkLst>
            <pc:docMk/>
            <pc:sldMk cId="869737009" sldId="257308"/>
            <ac:grpSpMk id="23" creationId="{6983F971-E2AD-CF0B-B9DE-36462A9C9772}"/>
          </ac:grpSpMkLst>
        </pc:grpChg>
        <pc:grpChg chg="mod">
          <ac:chgData name="Power. Damien (Contractor - EY)" userId="S::contractor.damien.power@esb.ie::a1f4b3c0-1096-4948-b5f9-75b086acdda0" providerId="AD" clId="Web-{9A8E6D42-F78F-7F46-139E-120AEF7B57D4}" dt="2023-08-03T12:27:55.956" v="185" actId="1076"/>
          <ac:grpSpMkLst>
            <pc:docMk/>
            <pc:sldMk cId="869737009" sldId="257308"/>
            <ac:grpSpMk id="26" creationId="{603232C4-85CF-AC44-C1B2-6C761ECB7885}"/>
          </ac:grpSpMkLst>
        </pc:grpChg>
        <pc:grpChg chg="mod">
          <ac:chgData name="Power. Damien (Contractor - EY)" userId="S::contractor.damien.power@esb.ie::a1f4b3c0-1096-4948-b5f9-75b086acdda0" providerId="AD" clId="Web-{9A8E6D42-F78F-7F46-139E-120AEF7B57D4}" dt="2023-08-03T12:40:18.854" v="268" actId="1076"/>
          <ac:grpSpMkLst>
            <pc:docMk/>
            <pc:sldMk cId="869737009" sldId="257308"/>
            <ac:grpSpMk id="27" creationId="{4F1323D7-D6BB-5AEE-ECE3-2903D966FCFF}"/>
          </ac:grpSpMkLst>
        </pc:grpChg>
        <pc:grpChg chg="mod">
          <ac:chgData name="Power. Damien (Contractor - EY)" userId="S::contractor.damien.power@esb.ie::a1f4b3c0-1096-4948-b5f9-75b086acdda0" providerId="AD" clId="Web-{9A8E6D42-F78F-7F46-139E-120AEF7B57D4}" dt="2023-08-03T12:38:29.866" v="254" actId="1076"/>
          <ac:grpSpMkLst>
            <pc:docMk/>
            <pc:sldMk cId="869737009" sldId="257308"/>
            <ac:grpSpMk id="30" creationId="{7761D0AB-7D82-ED8E-56D5-50A3D77537BD}"/>
          </ac:grpSpMkLst>
        </pc:grpChg>
        <pc:grpChg chg="mod">
          <ac:chgData name="Power. Damien (Contractor - EY)" userId="S::contractor.damien.power@esb.ie::a1f4b3c0-1096-4948-b5f9-75b086acdda0" providerId="AD" clId="Web-{9A8E6D42-F78F-7F46-139E-120AEF7B57D4}" dt="2023-08-03T12:38:23.256" v="253" actId="1076"/>
          <ac:grpSpMkLst>
            <pc:docMk/>
            <pc:sldMk cId="869737009" sldId="257308"/>
            <ac:grpSpMk id="31" creationId="{FFD4ADDC-EFCB-830E-2A2E-C5FF7788014C}"/>
          </ac:grpSpMkLst>
        </pc:grpChg>
        <pc:grpChg chg="add mod">
          <ac:chgData name="Power. Damien (Contractor - EY)" userId="S::contractor.damien.power@esb.ie::a1f4b3c0-1096-4948-b5f9-75b086acdda0" providerId="AD" clId="Web-{9A8E6D42-F78F-7F46-139E-120AEF7B57D4}" dt="2023-08-03T12:39:14.039" v="258" actId="14100"/>
          <ac:grpSpMkLst>
            <pc:docMk/>
            <pc:sldMk cId="869737009" sldId="257308"/>
            <ac:grpSpMk id="32" creationId="{185EAE01-1FC7-674B-1F43-2960B215E58E}"/>
          </ac:grpSpMkLst>
        </pc:grpChg>
        <pc:grpChg chg="add mod">
          <ac:chgData name="Power. Damien (Contractor - EY)" userId="S::contractor.damien.power@esb.ie::a1f4b3c0-1096-4948-b5f9-75b086acdda0" providerId="AD" clId="Web-{9A8E6D42-F78F-7F46-139E-120AEF7B57D4}" dt="2023-08-03T13:23:13.957" v="271" actId="1076"/>
          <ac:grpSpMkLst>
            <pc:docMk/>
            <pc:sldMk cId="869737009" sldId="257308"/>
            <ac:grpSpMk id="41" creationId="{6E29EB72-17FE-081A-2AC3-0DDC3BECA852}"/>
          </ac:grpSpMkLst>
        </pc:grpChg>
        <pc:grpChg chg="add mod">
          <ac:chgData name="Power. Damien (Contractor - EY)" userId="S::contractor.damien.power@esb.ie::a1f4b3c0-1096-4948-b5f9-75b086acdda0" providerId="AD" clId="Web-{9A8E6D42-F78F-7F46-139E-120AEF7B57D4}" dt="2023-08-03T13:23:09.910" v="270" actId="1076"/>
          <ac:grpSpMkLst>
            <pc:docMk/>
            <pc:sldMk cId="869737009" sldId="257308"/>
            <ac:grpSpMk id="44" creationId="{3340A708-A4AD-137B-77AE-FACDB966A8C0}"/>
          </ac:grpSpMkLst>
        </pc:grpChg>
        <pc:grpChg chg="add mod">
          <ac:chgData name="Power. Damien (Contractor - EY)" userId="S::contractor.damien.power@esb.ie::a1f4b3c0-1096-4948-b5f9-75b086acdda0" providerId="AD" clId="Web-{9A8E6D42-F78F-7F46-139E-120AEF7B57D4}" dt="2023-08-03T13:23:21.754" v="272" actId="1076"/>
          <ac:grpSpMkLst>
            <pc:docMk/>
            <pc:sldMk cId="869737009" sldId="257308"/>
            <ac:grpSpMk id="48" creationId="{C4A3EE3B-20A5-D8EF-64A1-51F02429A736}"/>
          </ac:grpSpMkLst>
        </pc:grpChg>
        <pc:grpChg chg="add mod">
          <ac:chgData name="Power. Damien (Contractor - EY)" userId="S::contractor.damien.power@esb.ie::a1f4b3c0-1096-4948-b5f9-75b086acdda0" providerId="AD" clId="Web-{9A8E6D42-F78F-7F46-139E-120AEF7B57D4}" dt="2023-08-03T12:31:41.854" v="224" actId="1076"/>
          <ac:grpSpMkLst>
            <pc:docMk/>
            <pc:sldMk cId="869737009" sldId="257308"/>
            <ac:grpSpMk id="57" creationId="{FFBABC1E-54F5-EEFE-8E5C-1F83DC2D915B}"/>
          </ac:grpSpMkLst>
        </pc:grpChg>
        <pc:graphicFrameChg chg="modGraphic">
          <ac:chgData name="Power. Damien (Contractor - EY)" userId="S::contractor.damien.power@esb.ie::a1f4b3c0-1096-4948-b5f9-75b086acdda0" providerId="AD" clId="Web-{9A8E6D42-F78F-7F46-139E-120AEF7B57D4}" dt="2023-08-03T12:33:15.075" v="229"/>
          <ac:graphicFrameMkLst>
            <pc:docMk/>
            <pc:sldMk cId="869737009" sldId="257308"/>
            <ac:graphicFrameMk id="5" creationId="{6670DAB7-7CAE-4BEA-8DEA-221A5B41A1B8}"/>
          </ac:graphicFrameMkLst>
        </pc:graphicFrameChg>
        <pc:graphicFrameChg chg="modGraphic">
          <ac:chgData name="Power. Damien (Contractor - EY)" userId="S::contractor.damien.power@esb.ie::a1f4b3c0-1096-4948-b5f9-75b086acdda0" providerId="AD" clId="Web-{9A8E6D42-F78F-7F46-139E-120AEF7B57D4}" dt="2023-08-03T13:27:36.731" v="281"/>
          <ac:graphicFrameMkLst>
            <pc:docMk/>
            <pc:sldMk cId="869737009" sldId="257308"/>
            <ac:graphicFrameMk id="7" creationId="{37062EB4-A15E-429A-A150-E35CC823BA50}"/>
          </ac:graphicFrameMkLst>
        </pc:graphicFrameChg>
      </pc:sldChg>
    </pc:docChg>
  </pc:docChgLst>
  <pc:docChgLst>
    <pc:chgData name="Hassett. Rachel (Consultant - EY)" userId="S::consultant.rachel.hassett@esb.ie::b7d2e2b0-3019-4ec4-beb3-a42a62b65a21" providerId="AD" clId="Web-{78F1AD31-618F-565D-0563-D96C2CD9558F}"/>
    <pc:docChg chg="modSld">
      <pc:chgData name="Hassett. Rachel (Consultant - EY)" userId="S::consultant.rachel.hassett@esb.ie::b7d2e2b0-3019-4ec4-beb3-a42a62b65a21" providerId="AD" clId="Web-{78F1AD31-618F-565D-0563-D96C2CD9558F}" dt="2024-02-22T16:34:16.689" v="14" actId="20577"/>
      <pc:docMkLst>
        <pc:docMk/>
      </pc:docMkLst>
      <pc:sldChg chg="modSp modCm">
        <pc:chgData name="Hassett. Rachel (Consultant - EY)" userId="S::consultant.rachel.hassett@esb.ie::b7d2e2b0-3019-4ec4-beb3-a42a62b65a21" providerId="AD" clId="Web-{78F1AD31-618F-565D-0563-D96C2CD9558F}" dt="2024-02-22T16:34:16.689" v="14" actId="20577"/>
        <pc:sldMkLst>
          <pc:docMk/>
          <pc:sldMk cId="2678521947" sldId="257306"/>
        </pc:sldMkLst>
        <pc:spChg chg="mod">
          <ac:chgData name="Hassett. Rachel (Consultant - EY)" userId="S::consultant.rachel.hassett@esb.ie::b7d2e2b0-3019-4ec4-beb3-a42a62b65a21" providerId="AD" clId="Web-{78F1AD31-618F-565D-0563-D96C2CD9558F}" dt="2024-02-22T16:34:16.689" v="14" actId="20577"/>
          <ac:spMkLst>
            <pc:docMk/>
            <pc:sldMk cId="2678521947" sldId="257306"/>
            <ac:spMk id="4" creationId="{41825E9A-DF3E-44B2-A2BB-5D3F04B1C432}"/>
          </ac:spMkLst>
        </pc:spChg>
      </pc:sldChg>
    </pc:docChg>
  </pc:docChgLst>
  <pc:docChgLst>
    <pc:chgData name="O'Hagan. Sinead (Contractor - Ernst &amp; Young)" userId="S::contractor.sinead.ohagan@esb.ie::37e0efa1-0107-4a6a-a201-5949a9329ddf" providerId="AD" clId="Web-{00D53648-788D-57B6-BDEB-88B02E1627CC}"/>
    <pc:docChg chg="modSld">
      <pc:chgData name="O'Hagan. Sinead (Contractor - Ernst &amp; Young)" userId="S::contractor.sinead.ohagan@esb.ie::37e0efa1-0107-4a6a-a201-5949a9329ddf" providerId="AD" clId="Web-{00D53648-788D-57B6-BDEB-88B02E1627CC}" dt="2022-06-09T06:02:29.477" v="2" actId="20577"/>
      <pc:docMkLst>
        <pc:docMk/>
      </pc:docMkLst>
      <pc:sldChg chg="modSp">
        <pc:chgData name="O'Hagan. Sinead (Contractor - Ernst &amp; Young)" userId="S::contractor.sinead.ohagan@esb.ie::37e0efa1-0107-4a6a-a201-5949a9329ddf" providerId="AD" clId="Web-{00D53648-788D-57B6-BDEB-88B02E1627CC}" dt="2022-06-09T06:02:29.477" v="2" actId="20577"/>
        <pc:sldMkLst>
          <pc:docMk/>
          <pc:sldMk cId="4083202202" sldId="1263"/>
        </pc:sldMkLst>
        <pc:spChg chg="mod">
          <ac:chgData name="O'Hagan. Sinead (Contractor - Ernst &amp; Young)" userId="S::contractor.sinead.ohagan@esb.ie::37e0efa1-0107-4a6a-a201-5949a9329ddf" providerId="AD" clId="Web-{00D53648-788D-57B6-BDEB-88B02E1627CC}" dt="2022-06-09T06:02:29.477" v="2" actId="20577"/>
          <ac:spMkLst>
            <pc:docMk/>
            <pc:sldMk cId="4083202202" sldId="1263"/>
            <ac:spMk id="7" creationId="{A2A8F692-D027-40EA-BAA7-5DBCE4BB831E}"/>
          </ac:spMkLst>
        </pc:spChg>
      </pc:sldChg>
    </pc:docChg>
  </pc:docChgLst>
  <pc:docChgLst>
    <pc:chgData name="O'Hagan. Sinead (Contractor - Ernst &amp; Young)" userId="37e0efa1-0107-4a6a-a201-5949a9329ddf" providerId="ADAL" clId="{49F3FD5A-C28D-452A-8CDB-C055A7DCEC3C}"/>
    <pc:docChg chg="undo custSel addSld delSld modSld">
      <pc:chgData name="O'Hagan. Sinead (Contractor - Ernst &amp; Young)" userId="37e0efa1-0107-4a6a-a201-5949a9329ddf" providerId="ADAL" clId="{49F3FD5A-C28D-452A-8CDB-C055A7DCEC3C}" dt="2022-09-06T16:42:09.657" v="231" actId="20577"/>
      <pc:docMkLst>
        <pc:docMk/>
      </pc:docMkLst>
      <pc:sldChg chg="modSp mod">
        <pc:chgData name="O'Hagan. Sinead (Contractor - Ernst &amp; Young)" userId="37e0efa1-0107-4a6a-a201-5949a9329ddf" providerId="ADAL" clId="{49F3FD5A-C28D-452A-8CDB-C055A7DCEC3C}" dt="2022-09-06T12:39:32.105" v="191" actId="20577"/>
        <pc:sldMkLst>
          <pc:docMk/>
          <pc:sldMk cId="4083202202" sldId="1263"/>
        </pc:sldMkLst>
        <pc:spChg chg="mod">
          <ac:chgData name="O'Hagan. Sinead (Contractor - Ernst &amp; Young)" userId="37e0efa1-0107-4a6a-a201-5949a9329ddf" providerId="ADAL" clId="{49F3FD5A-C28D-452A-8CDB-C055A7DCEC3C}" dt="2022-09-06T12:39:32.105" v="191" actId="20577"/>
          <ac:spMkLst>
            <pc:docMk/>
            <pc:sldMk cId="4083202202" sldId="1263"/>
            <ac:spMk id="7" creationId="{A2A8F692-D027-40EA-BAA7-5DBCE4BB831E}"/>
          </ac:spMkLst>
        </pc:spChg>
      </pc:sldChg>
      <pc:sldChg chg="modSp mod delCm">
        <pc:chgData name="O'Hagan. Sinead (Contractor - Ernst &amp; Young)" userId="37e0efa1-0107-4a6a-a201-5949a9329ddf" providerId="ADAL" clId="{49F3FD5A-C28D-452A-8CDB-C055A7DCEC3C}" dt="2022-09-06T14:49:41.326" v="201" actId="20577"/>
        <pc:sldMkLst>
          <pc:docMk/>
          <pc:sldMk cId="2678521947" sldId="257306"/>
        </pc:sldMkLst>
        <pc:spChg chg="mod">
          <ac:chgData name="O'Hagan. Sinead (Contractor - Ernst &amp; Young)" userId="37e0efa1-0107-4a6a-a201-5949a9329ddf" providerId="ADAL" clId="{49F3FD5A-C28D-452A-8CDB-C055A7DCEC3C}" dt="2022-09-06T14:49:41.326" v="201" actId="20577"/>
          <ac:spMkLst>
            <pc:docMk/>
            <pc:sldMk cId="2678521947" sldId="257306"/>
            <ac:spMk id="4" creationId="{41825E9A-DF3E-44B2-A2BB-5D3F04B1C432}"/>
          </ac:spMkLst>
        </pc:spChg>
      </pc:sldChg>
      <pc:sldChg chg="modSp mod">
        <pc:chgData name="O'Hagan. Sinead (Contractor - Ernst &amp; Young)" userId="37e0efa1-0107-4a6a-a201-5949a9329ddf" providerId="ADAL" clId="{49F3FD5A-C28D-452A-8CDB-C055A7DCEC3C}" dt="2022-09-06T16:42:09.657" v="231" actId="20577"/>
        <pc:sldMkLst>
          <pc:docMk/>
          <pc:sldMk cId="197788441" sldId="257307"/>
        </pc:sldMkLst>
        <pc:spChg chg="mod">
          <ac:chgData name="O'Hagan. Sinead (Contractor - Ernst &amp; Young)" userId="37e0efa1-0107-4a6a-a201-5949a9329ddf" providerId="ADAL" clId="{49F3FD5A-C28D-452A-8CDB-C055A7DCEC3C}" dt="2022-09-06T16:42:09.657" v="231" actId="20577"/>
          <ac:spMkLst>
            <pc:docMk/>
            <pc:sldMk cId="197788441" sldId="257307"/>
            <ac:spMk id="4" creationId="{41825E9A-DF3E-44B2-A2BB-5D3F04B1C432}"/>
          </ac:spMkLst>
        </pc:spChg>
      </pc:sldChg>
      <pc:sldChg chg="addSp delSp modSp mod delCm">
        <pc:chgData name="O'Hagan. Sinead (Contractor - Ernst &amp; Young)" userId="37e0efa1-0107-4a6a-a201-5949a9329ddf" providerId="ADAL" clId="{49F3FD5A-C28D-452A-8CDB-C055A7DCEC3C}" dt="2022-09-06T12:41:22.903" v="199" actId="1076"/>
        <pc:sldMkLst>
          <pc:docMk/>
          <pc:sldMk cId="869737009" sldId="257308"/>
        </pc:sldMkLst>
        <pc:spChg chg="add mod">
          <ac:chgData name="O'Hagan. Sinead (Contractor - Ernst &amp; Young)" userId="37e0efa1-0107-4a6a-a201-5949a9329ddf" providerId="ADAL" clId="{49F3FD5A-C28D-452A-8CDB-C055A7DCEC3C}" dt="2022-09-06T12:38:06.984" v="163" actId="1076"/>
          <ac:spMkLst>
            <pc:docMk/>
            <pc:sldMk cId="869737009" sldId="257308"/>
            <ac:spMk id="3" creationId="{4EA47BD0-A51A-4FC4-8E2C-1AD8AE0DEF64}"/>
          </ac:spMkLst>
        </pc:spChg>
        <pc:spChg chg="mod">
          <ac:chgData name="O'Hagan. Sinead (Contractor - Ernst &amp; Young)" userId="37e0efa1-0107-4a6a-a201-5949a9329ddf" providerId="ADAL" clId="{49F3FD5A-C28D-452A-8CDB-C055A7DCEC3C}" dt="2022-09-06T12:34:30.168" v="120" actId="1076"/>
          <ac:spMkLst>
            <pc:docMk/>
            <pc:sldMk cId="869737009" sldId="257308"/>
            <ac:spMk id="11" creationId="{21D76DC2-1624-48F9-89BF-C18FC670CAD1}"/>
          </ac:spMkLst>
        </pc:spChg>
        <pc:spChg chg="mod">
          <ac:chgData name="O'Hagan. Sinead (Contractor - Ernst &amp; Young)" userId="37e0efa1-0107-4a6a-a201-5949a9329ddf" providerId="ADAL" clId="{49F3FD5A-C28D-452A-8CDB-C055A7DCEC3C}" dt="2022-09-06T12:26:01.998" v="15" actId="20577"/>
          <ac:spMkLst>
            <pc:docMk/>
            <pc:sldMk cId="869737009" sldId="257308"/>
            <ac:spMk id="12" creationId="{BF197A6C-E43C-443B-999F-EAF9324CB1F8}"/>
          </ac:spMkLst>
        </pc:spChg>
        <pc:spChg chg="mod">
          <ac:chgData name="O'Hagan. Sinead (Contractor - Ernst &amp; Young)" userId="37e0efa1-0107-4a6a-a201-5949a9329ddf" providerId="ADAL" clId="{49F3FD5A-C28D-452A-8CDB-C055A7DCEC3C}" dt="2022-09-06T12:38:28.791" v="166" actId="1076"/>
          <ac:spMkLst>
            <pc:docMk/>
            <pc:sldMk cId="869737009" sldId="257308"/>
            <ac:spMk id="13" creationId="{F4EADA55-5921-43D5-9A37-213C797E8360}"/>
          </ac:spMkLst>
        </pc:spChg>
        <pc:spChg chg="mod">
          <ac:chgData name="O'Hagan. Sinead (Contractor - Ernst &amp; Young)" userId="37e0efa1-0107-4a6a-a201-5949a9329ddf" providerId="ADAL" clId="{49F3FD5A-C28D-452A-8CDB-C055A7DCEC3C}" dt="2022-09-06T12:33:28.793" v="110" actId="1076"/>
          <ac:spMkLst>
            <pc:docMk/>
            <pc:sldMk cId="869737009" sldId="257308"/>
            <ac:spMk id="23" creationId="{2363AFF5-8DE4-4847-B216-DB2982521510}"/>
          </ac:spMkLst>
        </pc:spChg>
        <pc:spChg chg="mod">
          <ac:chgData name="O'Hagan. Sinead (Contractor - Ernst &amp; Young)" userId="37e0efa1-0107-4a6a-a201-5949a9329ddf" providerId="ADAL" clId="{49F3FD5A-C28D-452A-8CDB-C055A7DCEC3C}" dt="2022-09-06T12:40:40.536" v="196" actId="20577"/>
          <ac:spMkLst>
            <pc:docMk/>
            <pc:sldMk cId="869737009" sldId="257308"/>
            <ac:spMk id="28" creationId="{16FF8F10-73B0-48A8-A38E-75A07C15763F}"/>
          </ac:spMkLst>
        </pc:spChg>
        <pc:spChg chg="del">
          <ac:chgData name="O'Hagan. Sinead (Contractor - Ernst &amp; Young)" userId="37e0efa1-0107-4a6a-a201-5949a9329ddf" providerId="ADAL" clId="{49F3FD5A-C28D-452A-8CDB-C055A7DCEC3C}" dt="2022-09-06T12:30:16.946" v="42" actId="478"/>
          <ac:spMkLst>
            <pc:docMk/>
            <pc:sldMk cId="869737009" sldId="257308"/>
            <ac:spMk id="30" creationId="{34CD8468-A3AC-495C-BBB5-6EA6A8AA1D6E}"/>
          </ac:spMkLst>
        </pc:spChg>
        <pc:spChg chg="del">
          <ac:chgData name="O'Hagan. Sinead (Contractor - Ernst &amp; Young)" userId="37e0efa1-0107-4a6a-a201-5949a9329ddf" providerId="ADAL" clId="{49F3FD5A-C28D-452A-8CDB-C055A7DCEC3C}" dt="2022-09-06T12:31:21.857" v="71" actId="478"/>
          <ac:spMkLst>
            <pc:docMk/>
            <pc:sldMk cId="869737009" sldId="257308"/>
            <ac:spMk id="31" creationId="{77F2F0DB-FEEA-4A8B-99B1-C36432A40BC6}"/>
          </ac:spMkLst>
        </pc:spChg>
        <pc:spChg chg="del">
          <ac:chgData name="O'Hagan. Sinead (Contractor - Ernst &amp; Young)" userId="37e0efa1-0107-4a6a-a201-5949a9329ddf" providerId="ADAL" clId="{49F3FD5A-C28D-452A-8CDB-C055A7DCEC3C}" dt="2022-09-06T12:32:00.717" v="91" actId="478"/>
          <ac:spMkLst>
            <pc:docMk/>
            <pc:sldMk cId="869737009" sldId="257308"/>
            <ac:spMk id="32" creationId="{40287278-4378-49BD-916E-956BBF21B4B2}"/>
          </ac:spMkLst>
        </pc:spChg>
        <pc:spChg chg="mod">
          <ac:chgData name="O'Hagan. Sinead (Contractor - Ernst &amp; Young)" userId="37e0efa1-0107-4a6a-a201-5949a9329ddf" providerId="ADAL" clId="{49F3FD5A-C28D-452A-8CDB-C055A7DCEC3C}" dt="2022-09-06T12:33:24.488" v="109" actId="1076"/>
          <ac:spMkLst>
            <pc:docMk/>
            <pc:sldMk cId="869737009" sldId="257308"/>
            <ac:spMk id="33" creationId="{EC022AB5-9CFB-4EE3-82E6-63461757F051}"/>
          </ac:spMkLst>
        </pc:spChg>
        <pc:spChg chg="mod">
          <ac:chgData name="O'Hagan. Sinead (Contractor - Ernst &amp; Young)" userId="37e0efa1-0107-4a6a-a201-5949a9329ddf" providerId="ADAL" clId="{49F3FD5A-C28D-452A-8CDB-C055A7DCEC3C}" dt="2022-09-06T12:34:33.807" v="121" actId="1036"/>
          <ac:spMkLst>
            <pc:docMk/>
            <pc:sldMk cId="869737009" sldId="257308"/>
            <ac:spMk id="34" creationId="{E38D18BD-D7ED-4B6F-902C-236278FA0753}"/>
          </ac:spMkLst>
        </pc:spChg>
        <pc:spChg chg="mod">
          <ac:chgData name="O'Hagan. Sinead (Contractor - Ernst &amp; Young)" userId="37e0efa1-0107-4a6a-a201-5949a9329ddf" providerId="ADAL" clId="{49F3FD5A-C28D-452A-8CDB-C055A7DCEC3C}" dt="2022-09-06T12:33:19.312" v="108" actId="1076"/>
          <ac:spMkLst>
            <pc:docMk/>
            <pc:sldMk cId="869737009" sldId="257308"/>
            <ac:spMk id="36" creationId="{AFA9FCF3-2116-4DE8-A0CB-F287C1193141}"/>
          </ac:spMkLst>
        </pc:spChg>
        <pc:spChg chg="mod">
          <ac:chgData name="O'Hagan. Sinead (Contractor - Ernst &amp; Young)" userId="37e0efa1-0107-4a6a-a201-5949a9329ddf" providerId="ADAL" clId="{49F3FD5A-C28D-452A-8CDB-C055A7DCEC3C}" dt="2022-09-06T12:34:03.656" v="116" actId="1076"/>
          <ac:spMkLst>
            <pc:docMk/>
            <pc:sldMk cId="869737009" sldId="257308"/>
            <ac:spMk id="37" creationId="{C5705680-0D67-4476-808D-279CDFB8AF39}"/>
          </ac:spMkLst>
        </pc:spChg>
        <pc:spChg chg="mod">
          <ac:chgData name="O'Hagan. Sinead (Contractor - Ernst &amp; Young)" userId="37e0efa1-0107-4a6a-a201-5949a9329ddf" providerId="ADAL" clId="{49F3FD5A-C28D-452A-8CDB-C055A7DCEC3C}" dt="2022-09-06T12:34:24.768" v="119" actId="1076"/>
          <ac:spMkLst>
            <pc:docMk/>
            <pc:sldMk cId="869737009" sldId="257308"/>
            <ac:spMk id="38" creationId="{9C0ECC14-AFBE-4075-B946-271FD04905E8}"/>
          </ac:spMkLst>
        </pc:spChg>
        <pc:spChg chg="mod">
          <ac:chgData name="O'Hagan. Sinead (Contractor - Ernst &amp; Young)" userId="37e0efa1-0107-4a6a-a201-5949a9329ddf" providerId="ADAL" clId="{49F3FD5A-C28D-452A-8CDB-C055A7DCEC3C}" dt="2022-09-06T12:34:38.888" v="122" actId="1076"/>
          <ac:spMkLst>
            <pc:docMk/>
            <pc:sldMk cId="869737009" sldId="257308"/>
            <ac:spMk id="39" creationId="{87DA2EFF-A58D-4A7C-8620-8E0B56467E26}"/>
          </ac:spMkLst>
        </pc:spChg>
        <pc:spChg chg="mod">
          <ac:chgData name="O'Hagan. Sinead (Contractor - Ernst &amp; Young)" userId="37e0efa1-0107-4a6a-a201-5949a9329ddf" providerId="ADAL" clId="{49F3FD5A-C28D-452A-8CDB-C055A7DCEC3C}" dt="2022-09-06T12:33:52.225" v="115" actId="108"/>
          <ac:spMkLst>
            <pc:docMk/>
            <pc:sldMk cId="869737009" sldId="257308"/>
            <ac:spMk id="40" creationId="{DB012CF6-598B-4F01-8974-8FCCCF89B5DC}"/>
          </ac:spMkLst>
        </pc:spChg>
        <pc:spChg chg="mod">
          <ac:chgData name="O'Hagan. Sinead (Contractor - Ernst &amp; Young)" userId="37e0efa1-0107-4a6a-a201-5949a9329ddf" providerId="ADAL" clId="{49F3FD5A-C28D-452A-8CDB-C055A7DCEC3C}" dt="2022-09-06T12:41:06.628" v="197" actId="1076"/>
          <ac:spMkLst>
            <pc:docMk/>
            <pc:sldMk cId="869737009" sldId="257308"/>
            <ac:spMk id="43" creationId="{939B50AA-BDF4-4932-960C-5A66A00B8A22}"/>
          </ac:spMkLst>
        </pc:spChg>
        <pc:spChg chg="del">
          <ac:chgData name="O'Hagan. Sinead (Contractor - Ernst &amp; Young)" userId="37e0efa1-0107-4a6a-a201-5949a9329ddf" providerId="ADAL" clId="{49F3FD5A-C28D-452A-8CDB-C055A7DCEC3C}" dt="2022-09-06T12:32:30.557" v="100" actId="478"/>
          <ac:spMkLst>
            <pc:docMk/>
            <pc:sldMk cId="869737009" sldId="257308"/>
            <ac:spMk id="44" creationId="{5EA43C08-09C6-42F5-B329-B8354A2E5EF7}"/>
          </ac:spMkLst>
        </pc:spChg>
        <pc:spChg chg="mod">
          <ac:chgData name="O'Hagan. Sinead (Contractor - Ernst &amp; Young)" userId="37e0efa1-0107-4a6a-a201-5949a9329ddf" providerId="ADAL" clId="{49F3FD5A-C28D-452A-8CDB-C055A7DCEC3C}" dt="2022-09-06T12:32:49.076" v="103" actId="1076"/>
          <ac:spMkLst>
            <pc:docMk/>
            <pc:sldMk cId="869737009" sldId="257308"/>
            <ac:spMk id="46" creationId="{8261ECB8-5DEC-45BF-A43A-33D9D441AB3D}"/>
          </ac:spMkLst>
        </pc:spChg>
        <pc:spChg chg="add mod">
          <ac:chgData name="O'Hagan. Sinead (Contractor - Ernst &amp; Young)" userId="37e0efa1-0107-4a6a-a201-5949a9329ddf" providerId="ADAL" clId="{49F3FD5A-C28D-452A-8CDB-C055A7DCEC3C}" dt="2022-09-06T12:37:34.848" v="154" actId="14100"/>
          <ac:spMkLst>
            <pc:docMk/>
            <pc:sldMk cId="869737009" sldId="257308"/>
            <ac:spMk id="49" creationId="{52299285-A618-49A4-B7CE-2DBC611635BD}"/>
          </ac:spMkLst>
        </pc:spChg>
        <pc:spChg chg="add mod">
          <ac:chgData name="O'Hagan. Sinead (Contractor - Ernst &amp; Young)" userId="37e0efa1-0107-4a6a-a201-5949a9329ddf" providerId="ADAL" clId="{49F3FD5A-C28D-452A-8CDB-C055A7DCEC3C}" dt="2022-09-06T12:37:59.579" v="162" actId="1035"/>
          <ac:spMkLst>
            <pc:docMk/>
            <pc:sldMk cId="869737009" sldId="257308"/>
            <ac:spMk id="50" creationId="{DEDC5969-CE60-4ABE-B404-992FA4B5D4B3}"/>
          </ac:spMkLst>
        </pc:spChg>
        <pc:spChg chg="add mod">
          <ac:chgData name="O'Hagan. Sinead (Contractor - Ernst &amp; Young)" userId="37e0efa1-0107-4a6a-a201-5949a9329ddf" providerId="ADAL" clId="{49F3FD5A-C28D-452A-8CDB-C055A7DCEC3C}" dt="2022-09-06T12:37:26.428" v="153" actId="14100"/>
          <ac:spMkLst>
            <pc:docMk/>
            <pc:sldMk cId="869737009" sldId="257308"/>
            <ac:spMk id="51" creationId="{EC397523-892F-463A-AFBE-79B854C95CBF}"/>
          </ac:spMkLst>
        </pc:spChg>
        <pc:spChg chg="mod">
          <ac:chgData name="O'Hagan. Sinead (Contractor - Ernst &amp; Young)" userId="37e0efa1-0107-4a6a-a201-5949a9329ddf" providerId="ADAL" clId="{49F3FD5A-C28D-452A-8CDB-C055A7DCEC3C}" dt="2022-09-06T12:36:56.393" v="134" actId="1038"/>
          <ac:spMkLst>
            <pc:docMk/>
            <pc:sldMk cId="869737009" sldId="257308"/>
            <ac:spMk id="52" creationId="{0C2F4F46-9540-441E-AE7C-D91BB2A05802}"/>
          </ac:spMkLst>
        </pc:spChg>
        <pc:spChg chg="mod">
          <ac:chgData name="O'Hagan. Sinead (Contractor - Ernst &amp; Young)" userId="37e0efa1-0107-4a6a-a201-5949a9329ddf" providerId="ADAL" clId="{49F3FD5A-C28D-452A-8CDB-C055A7DCEC3C}" dt="2022-09-06T12:38:11.976" v="164" actId="1076"/>
          <ac:spMkLst>
            <pc:docMk/>
            <pc:sldMk cId="869737009" sldId="257308"/>
            <ac:spMk id="53" creationId="{DA33DE6F-DE12-4038-80B8-CFE9FEEF6BD9}"/>
          </ac:spMkLst>
        </pc:spChg>
        <pc:spChg chg="mod">
          <ac:chgData name="O'Hagan. Sinead (Contractor - Ernst &amp; Young)" userId="37e0efa1-0107-4a6a-a201-5949a9329ddf" providerId="ADAL" clId="{49F3FD5A-C28D-452A-8CDB-C055A7DCEC3C}" dt="2022-09-06T12:38:25.700" v="165" actId="1076"/>
          <ac:spMkLst>
            <pc:docMk/>
            <pc:sldMk cId="869737009" sldId="257308"/>
            <ac:spMk id="54" creationId="{C8669061-C2D6-446F-BED0-2F6529A03DDC}"/>
          </ac:spMkLst>
        </pc:spChg>
        <pc:spChg chg="del">
          <ac:chgData name="O'Hagan. Sinead (Contractor - Ernst &amp; Young)" userId="37e0efa1-0107-4a6a-a201-5949a9329ddf" providerId="ADAL" clId="{49F3FD5A-C28D-452A-8CDB-C055A7DCEC3C}" dt="2022-09-06T12:28:53.614" v="25" actId="478"/>
          <ac:spMkLst>
            <pc:docMk/>
            <pc:sldMk cId="869737009" sldId="257308"/>
            <ac:spMk id="57" creationId="{317596E5-24FD-4C9B-8743-AE0689141C1F}"/>
          </ac:spMkLst>
        </pc:spChg>
        <pc:spChg chg="add mod">
          <ac:chgData name="O'Hagan. Sinead (Contractor - Ernst &amp; Young)" userId="37e0efa1-0107-4a6a-a201-5949a9329ddf" providerId="ADAL" clId="{49F3FD5A-C28D-452A-8CDB-C055A7DCEC3C}" dt="2022-09-06T12:41:13.819" v="198" actId="1076"/>
          <ac:spMkLst>
            <pc:docMk/>
            <pc:sldMk cId="869737009" sldId="257308"/>
            <ac:spMk id="58" creationId="{89C0EEB5-6F93-46F9-BA23-346D0E67B06F}"/>
          </ac:spMkLst>
        </pc:spChg>
        <pc:grpChg chg="mod">
          <ac:chgData name="O'Hagan. Sinead (Contractor - Ernst &amp; Young)" userId="37e0efa1-0107-4a6a-a201-5949a9329ddf" providerId="ADAL" clId="{49F3FD5A-C28D-452A-8CDB-C055A7DCEC3C}" dt="2022-09-06T12:41:22.903" v="199" actId="1076"/>
          <ac:grpSpMkLst>
            <pc:docMk/>
            <pc:sldMk cId="869737009" sldId="257308"/>
            <ac:grpSpMk id="4" creationId="{2F9BAE89-2A14-4432-8826-56B468238900}"/>
          </ac:grpSpMkLst>
        </pc:grpChg>
      </pc:sldChg>
      <pc:sldChg chg="add del">
        <pc:chgData name="O'Hagan. Sinead (Contractor - Ernst &amp; Young)" userId="37e0efa1-0107-4a6a-a201-5949a9329ddf" providerId="ADAL" clId="{49F3FD5A-C28D-452A-8CDB-C055A7DCEC3C}" dt="2022-09-06T12:34:46.607" v="123" actId="47"/>
        <pc:sldMkLst>
          <pc:docMk/>
          <pc:sldMk cId="4001804981" sldId="257309"/>
        </pc:sldMkLst>
      </pc:sldChg>
    </pc:docChg>
  </pc:docChgLst>
  <pc:docChgLst>
    <pc:chgData name="Power. Damien (Contractor - EY)" userId="S::contractor.damien.power@esb.ie::a1f4b3c0-1096-4948-b5f9-75b086acdda0" providerId="AD" clId="Web-{B94BC870-6933-8602-B9A8-251463C39FFE}"/>
    <pc:docChg chg="modSld">
      <pc:chgData name="Power. Damien (Contractor - EY)" userId="S::contractor.damien.power@esb.ie::a1f4b3c0-1096-4948-b5f9-75b086acdda0" providerId="AD" clId="Web-{B94BC870-6933-8602-B9A8-251463C39FFE}" dt="2023-07-31T13:45:23.212" v="39" actId="1076"/>
      <pc:docMkLst>
        <pc:docMk/>
      </pc:docMkLst>
      <pc:sldChg chg="addSp modSp">
        <pc:chgData name="Power. Damien (Contractor - EY)" userId="S::contractor.damien.power@esb.ie::a1f4b3c0-1096-4948-b5f9-75b086acdda0" providerId="AD" clId="Web-{B94BC870-6933-8602-B9A8-251463C39FFE}" dt="2023-07-31T13:45:23.212" v="39" actId="1076"/>
        <pc:sldMkLst>
          <pc:docMk/>
          <pc:sldMk cId="869737009" sldId="257308"/>
        </pc:sldMkLst>
        <pc:spChg chg="mod">
          <ac:chgData name="Power. Damien (Contractor - EY)" userId="S::contractor.damien.power@esb.ie::a1f4b3c0-1096-4948-b5f9-75b086acdda0" providerId="AD" clId="Web-{B94BC870-6933-8602-B9A8-251463C39FFE}" dt="2023-07-31T13:42:57.131" v="25" actId="1076"/>
          <ac:spMkLst>
            <pc:docMk/>
            <pc:sldMk cId="869737009" sldId="257308"/>
            <ac:spMk id="11" creationId="{21D76DC2-1624-48F9-89BF-C18FC670CAD1}"/>
          </ac:spMkLst>
        </pc:spChg>
        <pc:spChg chg="mod">
          <ac:chgData name="Power. Damien (Contractor - EY)" userId="S::contractor.damien.power@esb.ie::a1f4b3c0-1096-4948-b5f9-75b086acdda0" providerId="AD" clId="Web-{B94BC870-6933-8602-B9A8-251463C39FFE}" dt="2023-07-31T13:38:52.658" v="6" actId="20577"/>
          <ac:spMkLst>
            <pc:docMk/>
            <pc:sldMk cId="869737009" sldId="257308"/>
            <ac:spMk id="12" creationId="{BF197A6C-E43C-443B-999F-EAF9324CB1F8}"/>
          </ac:spMkLst>
        </pc:spChg>
        <pc:spChg chg="mod">
          <ac:chgData name="Power. Damien (Contractor - EY)" userId="S::contractor.damien.power@esb.ie::a1f4b3c0-1096-4948-b5f9-75b086acdda0" providerId="AD" clId="Web-{B94BC870-6933-8602-B9A8-251463C39FFE}" dt="2023-07-31T13:41:15.692" v="18" actId="1076"/>
          <ac:spMkLst>
            <pc:docMk/>
            <pc:sldMk cId="869737009" sldId="257308"/>
            <ac:spMk id="20" creationId="{F80F3DB1-E6EA-47EC-9371-949E0A1364CB}"/>
          </ac:spMkLst>
        </pc:spChg>
        <pc:spChg chg="mod">
          <ac:chgData name="Power. Damien (Contractor - EY)" userId="S::contractor.damien.power@esb.ie::a1f4b3c0-1096-4948-b5f9-75b086acdda0" providerId="AD" clId="Web-{B94BC870-6933-8602-B9A8-251463C39FFE}" dt="2023-07-31T13:40:55.598" v="14" actId="14100"/>
          <ac:spMkLst>
            <pc:docMk/>
            <pc:sldMk cId="869737009" sldId="257308"/>
            <ac:spMk id="22" creationId="{872B635B-6505-4B6F-85E7-9C86022B6C2D}"/>
          </ac:spMkLst>
        </pc:spChg>
        <pc:spChg chg="mod">
          <ac:chgData name="Power. Damien (Contractor - EY)" userId="S::contractor.damien.power@esb.ie::a1f4b3c0-1096-4948-b5f9-75b086acdda0" providerId="AD" clId="Web-{B94BC870-6933-8602-B9A8-251463C39FFE}" dt="2023-07-31T13:41:04.614" v="16" actId="1076"/>
          <ac:spMkLst>
            <pc:docMk/>
            <pc:sldMk cId="869737009" sldId="257308"/>
            <ac:spMk id="23" creationId="{2363AFF5-8DE4-4847-B216-DB2982521510}"/>
          </ac:spMkLst>
        </pc:spChg>
        <pc:spChg chg="mod">
          <ac:chgData name="Power. Damien (Contractor - EY)" userId="S::contractor.damien.power@esb.ie::a1f4b3c0-1096-4948-b5f9-75b086acdda0" providerId="AD" clId="Web-{B94BC870-6933-8602-B9A8-251463C39FFE}" dt="2023-07-31T13:44:40.180" v="35" actId="1076"/>
          <ac:spMkLst>
            <pc:docMk/>
            <pc:sldMk cId="869737009" sldId="257308"/>
            <ac:spMk id="28" creationId="{16FF8F10-73B0-48A8-A38E-75A07C15763F}"/>
          </ac:spMkLst>
        </pc:spChg>
        <pc:spChg chg="mod">
          <ac:chgData name="Power. Damien (Contractor - EY)" userId="S::contractor.damien.power@esb.ie::a1f4b3c0-1096-4948-b5f9-75b086acdda0" providerId="AD" clId="Web-{B94BC870-6933-8602-B9A8-251463C39FFE}" dt="2023-07-31T13:41:02.536" v="15" actId="1076"/>
          <ac:spMkLst>
            <pc:docMk/>
            <pc:sldMk cId="869737009" sldId="257308"/>
            <ac:spMk id="33" creationId="{EC022AB5-9CFB-4EE3-82E6-63461757F051}"/>
          </ac:spMkLst>
        </pc:spChg>
        <pc:spChg chg="mod">
          <ac:chgData name="Power. Damien (Contractor - EY)" userId="S::contractor.damien.power@esb.ie::a1f4b3c0-1096-4948-b5f9-75b086acdda0" providerId="AD" clId="Web-{B94BC870-6933-8602-B9A8-251463C39FFE}" dt="2023-07-31T13:42:18.178" v="19" actId="1076"/>
          <ac:spMkLst>
            <pc:docMk/>
            <pc:sldMk cId="869737009" sldId="257308"/>
            <ac:spMk id="34" creationId="{E38D18BD-D7ED-4B6F-902C-236278FA0753}"/>
          </ac:spMkLst>
        </pc:spChg>
        <pc:spChg chg="mod">
          <ac:chgData name="Power. Damien (Contractor - EY)" userId="S::contractor.damien.power@esb.ie::a1f4b3c0-1096-4948-b5f9-75b086acdda0" providerId="AD" clId="Web-{B94BC870-6933-8602-B9A8-251463C39FFE}" dt="2023-07-31T13:41:11.817" v="17" actId="1076"/>
          <ac:spMkLst>
            <pc:docMk/>
            <pc:sldMk cId="869737009" sldId="257308"/>
            <ac:spMk id="36" creationId="{AFA9FCF3-2116-4DE8-A0CB-F287C1193141}"/>
          </ac:spMkLst>
        </pc:spChg>
        <pc:spChg chg="mod">
          <ac:chgData name="Power. Damien (Contractor - EY)" userId="S::contractor.damien.power@esb.ie::a1f4b3c0-1096-4948-b5f9-75b086acdda0" providerId="AD" clId="Web-{B94BC870-6933-8602-B9A8-251463C39FFE}" dt="2023-07-31T13:43:02.850" v="26" actId="1076"/>
          <ac:spMkLst>
            <pc:docMk/>
            <pc:sldMk cId="869737009" sldId="257308"/>
            <ac:spMk id="38" creationId="{9C0ECC14-AFBE-4075-B946-271FD04905E8}"/>
          </ac:spMkLst>
        </pc:spChg>
        <pc:spChg chg="mod">
          <ac:chgData name="Power. Damien (Contractor - EY)" userId="S::contractor.damien.power@esb.ie::a1f4b3c0-1096-4948-b5f9-75b086acdda0" providerId="AD" clId="Web-{B94BC870-6933-8602-B9A8-251463C39FFE}" dt="2023-07-31T13:42:53.069" v="24" actId="1076"/>
          <ac:spMkLst>
            <pc:docMk/>
            <pc:sldMk cId="869737009" sldId="257308"/>
            <ac:spMk id="39" creationId="{87DA2EFF-A58D-4A7C-8620-8E0B56467E26}"/>
          </ac:spMkLst>
        </pc:spChg>
        <pc:spChg chg="mod">
          <ac:chgData name="Power. Damien (Contractor - EY)" userId="S::contractor.damien.power@esb.ie::a1f4b3c0-1096-4948-b5f9-75b086acdda0" providerId="AD" clId="Web-{B94BC870-6933-8602-B9A8-251463C39FFE}" dt="2023-07-31T13:43:08.741" v="27" actId="1076"/>
          <ac:spMkLst>
            <pc:docMk/>
            <pc:sldMk cId="869737009" sldId="257308"/>
            <ac:spMk id="56" creationId="{D02C1019-5EB5-479C-A5E5-B02719F0E37D}"/>
          </ac:spMkLst>
        </pc:spChg>
        <pc:grpChg chg="mod">
          <ac:chgData name="Power. Damien (Contractor - EY)" userId="S::contractor.damien.power@esb.ie::a1f4b3c0-1096-4948-b5f9-75b086acdda0" providerId="AD" clId="Web-{B94BC870-6933-8602-B9A8-251463C39FFE}" dt="2023-07-31T13:38:42.142" v="0" actId="1076"/>
          <ac:grpSpMkLst>
            <pc:docMk/>
            <pc:sldMk cId="869737009" sldId="257308"/>
            <ac:grpSpMk id="4" creationId="{2F9BAE89-2A14-4432-8826-56B468238900}"/>
          </ac:grpSpMkLst>
        </pc:grpChg>
        <pc:grpChg chg="add mod">
          <ac:chgData name="Power. Damien (Contractor - EY)" userId="S::contractor.damien.power@esb.ie::a1f4b3c0-1096-4948-b5f9-75b086acdda0" providerId="AD" clId="Web-{B94BC870-6933-8602-B9A8-251463C39FFE}" dt="2023-07-31T13:43:59.211" v="33" actId="1076"/>
          <ac:grpSpMkLst>
            <pc:docMk/>
            <pc:sldMk cId="869737009" sldId="257308"/>
            <ac:grpSpMk id="6" creationId="{72B056AB-B24C-7360-C569-69D959CE3990}"/>
          </ac:grpSpMkLst>
        </pc:grpChg>
        <pc:grpChg chg="add mod">
          <ac:chgData name="Power. Damien (Contractor - EY)" userId="S::contractor.damien.power@esb.ie::a1f4b3c0-1096-4948-b5f9-75b086acdda0" providerId="AD" clId="Web-{B94BC870-6933-8602-B9A8-251463C39FFE}" dt="2023-07-31T13:43:53.367" v="31" actId="1076"/>
          <ac:grpSpMkLst>
            <pc:docMk/>
            <pc:sldMk cId="869737009" sldId="257308"/>
            <ac:grpSpMk id="26" creationId="{603232C4-85CF-AC44-C1B2-6C761ECB7885}"/>
          </ac:grpSpMkLst>
        </pc:grpChg>
        <pc:grpChg chg="add mod">
          <ac:chgData name="Power. Damien (Contractor - EY)" userId="S::contractor.damien.power@esb.ie::a1f4b3c0-1096-4948-b5f9-75b086acdda0" providerId="AD" clId="Web-{B94BC870-6933-8602-B9A8-251463C39FFE}" dt="2023-07-31T13:43:56.976" v="32" actId="1076"/>
          <ac:grpSpMkLst>
            <pc:docMk/>
            <pc:sldMk cId="869737009" sldId="257308"/>
            <ac:grpSpMk id="27" creationId="{4F1323D7-D6BB-5AEE-ECE3-2903D966FCFF}"/>
          </ac:grpSpMkLst>
        </pc:grpChg>
        <pc:grpChg chg="add mod">
          <ac:chgData name="Power. Damien (Contractor - EY)" userId="S::contractor.damien.power@esb.ie::a1f4b3c0-1096-4948-b5f9-75b086acdda0" providerId="AD" clId="Web-{B94BC870-6933-8602-B9A8-251463C39FFE}" dt="2023-07-31T13:45:23.212" v="39" actId="1076"/>
          <ac:grpSpMkLst>
            <pc:docMk/>
            <pc:sldMk cId="869737009" sldId="257308"/>
            <ac:grpSpMk id="30" creationId="{7761D0AB-7D82-ED8E-56D5-50A3D77537BD}"/>
          </ac:grpSpMkLst>
        </pc:grpChg>
        <pc:grpChg chg="add mod">
          <ac:chgData name="Power. Damien (Contractor - EY)" userId="S::contractor.damien.power@esb.ie::a1f4b3c0-1096-4948-b5f9-75b086acdda0" providerId="AD" clId="Web-{B94BC870-6933-8602-B9A8-251463C39FFE}" dt="2023-07-31T13:45:19.103" v="38" actId="1076"/>
          <ac:grpSpMkLst>
            <pc:docMk/>
            <pc:sldMk cId="869737009" sldId="257308"/>
            <ac:grpSpMk id="31" creationId="{FFD4ADDC-EFCB-830E-2A2E-C5FF7788014C}"/>
          </ac:grpSpMkLst>
        </pc:grpChg>
        <pc:graphicFrameChg chg="modGraphic">
          <ac:chgData name="Power. Damien (Contractor - EY)" userId="S::contractor.damien.power@esb.ie::a1f4b3c0-1096-4948-b5f9-75b086acdda0" providerId="AD" clId="Web-{B94BC870-6933-8602-B9A8-251463C39FFE}" dt="2023-07-31T13:40:34.379" v="12"/>
          <ac:graphicFrameMkLst>
            <pc:docMk/>
            <pc:sldMk cId="869737009" sldId="257308"/>
            <ac:graphicFrameMk id="5" creationId="{6670DAB7-7CAE-4BEA-8DEA-221A5B41A1B8}"/>
          </ac:graphicFrameMkLst>
        </pc:graphicFrameChg>
      </pc:sldChg>
    </pc:docChg>
  </pc:docChgLst>
  <pc:docChgLst>
    <pc:chgData clId="Web-{928E5966-5C89-4BD8-A176-1FAA65671A60}"/>
    <pc:docChg chg="">
      <pc:chgData name="" userId="" providerId="" clId="Web-{928E5966-5C89-4BD8-A176-1FAA65671A60}" dt="2024-02-22T16:42:14.200" v="0"/>
      <pc:docMkLst>
        <pc:docMk/>
      </pc:docMkLst>
      <pc:sldChg chg="modCm">
        <pc:chgData name="" userId="" providerId="" clId="Web-{928E5966-5C89-4BD8-A176-1FAA65671A60}" dt="2024-02-22T16:42:14.200" v="0"/>
        <pc:sldMkLst>
          <pc:docMk/>
          <pc:sldMk cId="2678521947" sldId="257306"/>
        </pc:sldMkLst>
      </pc:sldChg>
    </pc:docChg>
  </pc:docChgLst>
  <pc:docChgLst>
    <pc:chgData name="O'Hagan. Sinead (Contractor - Ernst &amp; Young)" userId="S::contractor.sinead.ohagan@esb.ie::37e0efa1-0107-4a6a-a201-5949a9329ddf" providerId="AD" clId="Web-{A03672B0-0703-5906-6C97-93C0D99E097C}"/>
    <pc:docChg chg="modSld">
      <pc:chgData name="O'Hagan. Sinead (Contractor - Ernst &amp; Young)" userId="S::contractor.sinead.ohagan@esb.ie::37e0efa1-0107-4a6a-a201-5949a9329ddf" providerId="AD" clId="Web-{A03672B0-0703-5906-6C97-93C0D99E097C}" dt="2022-09-14T15:00:39.862" v="0" actId="20577"/>
      <pc:docMkLst>
        <pc:docMk/>
      </pc:docMkLst>
      <pc:sldChg chg="modSp">
        <pc:chgData name="O'Hagan. Sinead (Contractor - Ernst &amp; Young)" userId="S::contractor.sinead.ohagan@esb.ie::37e0efa1-0107-4a6a-a201-5949a9329ddf" providerId="AD" clId="Web-{A03672B0-0703-5906-6C97-93C0D99E097C}" dt="2022-09-14T15:00:39.862" v="0" actId="20577"/>
        <pc:sldMkLst>
          <pc:docMk/>
          <pc:sldMk cId="4083202202" sldId="1263"/>
        </pc:sldMkLst>
        <pc:spChg chg="mod">
          <ac:chgData name="O'Hagan. Sinead (Contractor - Ernst &amp; Young)" userId="S::contractor.sinead.ohagan@esb.ie::37e0efa1-0107-4a6a-a201-5949a9329ddf" providerId="AD" clId="Web-{A03672B0-0703-5906-6C97-93C0D99E097C}" dt="2022-09-14T15:00:39.862" v="0" actId="20577"/>
          <ac:spMkLst>
            <pc:docMk/>
            <pc:sldMk cId="4083202202" sldId="1263"/>
            <ac:spMk id="7" creationId="{A2A8F692-D027-40EA-BAA7-5DBCE4BB831E}"/>
          </ac:spMkLst>
        </pc:spChg>
      </pc:sldChg>
    </pc:docChg>
  </pc:docChgLst>
  <pc:docChgLst>
    <pc:chgData name="Power. Damien (Contractor - EY)" userId="a1f4b3c0-1096-4948-b5f9-75b086acdda0" providerId="ADAL" clId="{A191310F-763A-498B-BB86-9BF546761F0E}"/>
    <pc:docChg chg="modSld">
      <pc:chgData name="Power. Damien (Contractor - EY)" userId="a1f4b3c0-1096-4948-b5f9-75b086acdda0" providerId="ADAL" clId="{A191310F-763A-498B-BB86-9BF546761F0E}" dt="2024-02-08T14:38:31.817" v="49" actId="207"/>
      <pc:docMkLst>
        <pc:docMk/>
      </pc:docMkLst>
      <pc:sldChg chg="modSp mod">
        <pc:chgData name="Power. Damien (Contractor - EY)" userId="a1f4b3c0-1096-4948-b5f9-75b086acdda0" providerId="ADAL" clId="{A191310F-763A-498B-BB86-9BF546761F0E}" dt="2024-02-08T14:25:55.210" v="25" actId="400"/>
        <pc:sldMkLst>
          <pc:docMk/>
          <pc:sldMk cId="4083202202" sldId="1263"/>
        </pc:sldMkLst>
        <pc:spChg chg="mod">
          <ac:chgData name="Power. Damien (Contractor - EY)" userId="a1f4b3c0-1096-4948-b5f9-75b086acdda0" providerId="ADAL" clId="{A191310F-763A-498B-BB86-9BF546761F0E}" dt="2024-02-08T14:25:46.159" v="11" actId="400"/>
          <ac:spMkLst>
            <pc:docMk/>
            <pc:sldMk cId="4083202202" sldId="1263"/>
            <ac:spMk id="4" creationId="{18A7FD6C-669C-49E2-8A61-FFF2CD66CFFE}"/>
          </ac:spMkLst>
        </pc:spChg>
        <pc:spChg chg="mod">
          <ac:chgData name="Power. Damien (Contractor - EY)" userId="a1f4b3c0-1096-4948-b5f9-75b086acdda0" providerId="ADAL" clId="{A191310F-763A-498B-BB86-9BF546761F0E}" dt="2024-02-08T14:25:55.210" v="25" actId="400"/>
          <ac:spMkLst>
            <pc:docMk/>
            <pc:sldMk cId="4083202202" sldId="1263"/>
            <ac:spMk id="7" creationId="{A2A8F692-D027-40EA-BAA7-5DBCE4BB831E}"/>
          </ac:spMkLst>
        </pc:spChg>
      </pc:sldChg>
      <pc:sldChg chg="modSp mod">
        <pc:chgData name="Power. Damien (Contractor - EY)" userId="a1f4b3c0-1096-4948-b5f9-75b086acdda0" providerId="ADAL" clId="{A191310F-763A-498B-BB86-9BF546761F0E}" dt="2024-02-08T14:38:31.817" v="49" actId="207"/>
        <pc:sldMkLst>
          <pc:docMk/>
          <pc:sldMk cId="2678521947" sldId="257306"/>
        </pc:sldMkLst>
        <pc:spChg chg="mod">
          <ac:chgData name="Power. Damien (Contractor - EY)" userId="a1f4b3c0-1096-4948-b5f9-75b086acdda0" providerId="ADAL" clId="{A191310F-763A-498B-BB86-9BF546761F0E}" dt="2024-02-08T14:38:31.817" v="49" actId="207"/>
          <ac:spMkLst>
            <pc:docMk/>
            <pc:sldMk cId="2678521947" sldId="257306"/>
            <ac:spMk id="4" creationId="{41825E9A-DF3E-44B2-A2BB-5D3F04B1C432}"/>
          </ac:spMkLst>
        </pc:spChg>
      </pc:sldChg>
    </pc:docChg>
  </pc:docChgLst>
  <pc:docChgLst>
    <pc:chgData name="Hassett. Rachel (Consultant - EY)" userId="S::consultant.rachel.hassett@esb.ie::b7d2e2b0-3019-4ec4-beb3-a42a62b65a21" providerId="AD" clId="Web-{3911374E-381E-4064-5726-A57FD38E2F28}"/>
    <pc:docChg chg="modSld">
      <pc:chgData name="Hassett. Rachel (Consultant - EY)" userId="S::consultant.rachel.hassett@esb.ie::b7d2e2b0-3019-4ec4-beb3-a42a62b65a21" providerId="AD" clId="Web-{3911374E-381E-4064-5726-A57FD38E2F28}" dt="2024-02-22T14:11:50.621" v="21"/>
      <pc:docMkLst>
        <pc:docMk/>
      </pc:docMkLst>
      <pc:sldChg chg="modSp modCm">
        <pc:chgData name="Hassett. Rachel (Consultant - EY)" userId="S::consultant.rachel.hassett@esb.ie::b7d2e2b0-3019-4ec4-beb3-a42a62b65a21" providerId="AD" clId="Web-{3911374E-381E-4064-5726-A57FD38E2F28}" dt="2024-02-22T12:12:54.144" v="20" actId="20577"/>
        <pc:sldMkLst>
          <pc:docMk/>
          <pc:sldMk cId="4083202202" sldId="1263"/>
        </pc:sldMkLst>
        <pc:spChg chg="mod">
          <ac:chgData name="Hassett. Rachel (Consultant - EY)" userId="S::consultant.rachel.hassett@esb.ie::b7d2e2b0-3019-4ec4-beb3-a42a62b65a21" providerId="AD" clId="Web-{3911374E-381E-4064-5726-A57FD38E2F28}" dt="2024-02-22T12:12:54.144" v="20" actId="20577"/>
          <ac:spMkLst>
            <pc:docMk/>
            <pc:sldMk cId="4083202202" sldId="1263"/>
            <ac:spMk id="4" creationId="{18A7FD6C-669C-49E2-8A61-FFF2CD66CFFE}"/>
          </ac:spMkLst>
        </pc:spChg>
      </pc:sldChg>
      <pc:sldChg chg="modCm">
        <pc:chgData name="Hassett. Rachel (Consultant - EY)" userId="S::consultant.rachel.hassett@esb.ie::b7d2e2b0-3019-4ec4-beb3-a42a62b65a21" providerId="AD" clId="Web-{3911374E-381E-4064-5726-A57FD38E2F28}" dt="2024-02-22T11:52:09.799" v="1"/>
        <pc:sldMkLst>
          <pc:docMk/>
          <pc:sldMk cId="2678521947" sldId="257306"/>
        </pc:sldMkLst>
      </pc:sldChg>
      <pc:sldChg chg="addCm">
        <pc:chgData name="Hassett. Rachel (Consultant - EY)" userId="S::consultant.rachel.hassett@esb.ie::b7d2e2b0-3019-4ec4-beb3-a42a62b65a21" providerId="AD" clId="Web-{3911374E-381E-4064-5726-A57FD38E2F28}" dt="2024-02-22T14:11:50.621" v="21"/>
        <pc:sldMkLst>
          <pc:docMk/>
          <pc:sldMk cId="869737009" sldId="257308"/>
        </pc:sldMkLst>
      </pc:sldChg>
    </pc:docChg>
  </pc:docChgLst>
  <pc:docChgLst>
    <pc:chgData clId="Web-{6C8193A6-48BE-4DCB-92B1-E968B677BA65}"/>
    <pc:docChg chg="">
      <pc:chgData name="" userId="" providerId="" clId="Web-{6C8193A6-48BE-4DCB-92B1-E968B677BA65}" dt="2024-02-22T16:39:34.988" v="0"/>
      <pc:docMkLst>
        <pc:docMk/>
      </pc:docMkLst>
      <pc:sldChg chg="modCm">
        <pc:chgData name="" userId="" providerId="" clId="Web-{6C8193A6-48BE-4DCB-92B1-E968B677BA65}" dt="2024-02-22T16:39:34.988" v="0"/>
        <pc:sldMkLst>
          <pc:docMk/>
          <pc:sldMk cId="869737009" sldId="257308"/>
        </pc:sldMkLst>
      </pc:sldChg>
    </pc:docChg>
  </pc:docChgLst>
  <pc:docChgLst>
    <pc:chgData name="Clancy. Laura (Enterprise Services)" userId="067ba7e2-5d5b-42b0-b812-d2897b353e0a" providerId="ADAL" clId="{EEF74312-090A-42D9-8CAF-D3597744703B}"/>
    <pc:docChg chg="modSld">
      <pc:chgData name="Clancy. Laura (Enterprise Services)" userId="067ba7e2-5d5b-42b0-b812-d2897b353e0a" providerId="ADAL" clId="{EEF74312-090A-42D9-8CAF-D3597744703B}" dt="2023-09-22T10:32:37.428" v="4" actId="20577"/>
      <pc:docMkLst>
        <pc:docMk/>
      </pc:docMkLst>
      <pc:sldChg chg="modSp mod modCm">
        <pc:chgData name="Clancy. Laura (Enterprise Services)" userId="067ba7e2-5d5b-42b0-b812-d2897b353e0a" providerId="ADAL" clId="{EEF74312-090A-42D9-8CAF-D3597744703B}" dt="2023-09-22T10:32:37.428" v="4" actId="20577"/>
        <pc:sldMkLst>
          <pc:docMk/>
          <pc:sldMk cId="2678521947" sldId="257306"/>
        </pc:sldMkLst>
        <pc:spChg chg="mod">
          <ac:chgData name="Clancy. Laura (Enterprise Services)" userId="067ba7e2-5d5b-42b0-b812-d2897b353e0a" providerId="ADAL" clId="{EEF74312-090A-42D9-8CAF-D3597744703B}" dt="2023-09-22T10:32:37.428" v="4" actId="20577"/>
          <ac:spMkLst>
            <pc:docMk/>
            <pc:sldMk cId="2678521947" sldId="257306"/>
            <ac:spMk id="4" creationId="{41825E9A-DF3E-44B2-A2BB-5D3F04B1C432}"/>
          </ac:spMkLst>
        </pc:spChg>
      </pc:sldChg>
    </pc:docChg>
  </pc:docChgLst>
  <pc:docChgLst>
    <pc:chgData name="O'Hagan. Sinead (Contractor - Ernst &amp; Young)" userId="37e0efa1-0107-4a6a-a201-5949a9329ddf" providerId="ADAL" clId="{A770C351-5433-4408-A191-D8AB5C3DDC50}"/>
    <pc:docChg chg="undo custSel addSld delSld modSld sldOrd">
      <pc:chgData name="O'Hagan. Sinead (Contractor - Ernst &amp; Young)" userId="37e0efa1-0107-4a6a-a201-5949a9329ddf" providerId="ADAL" clId="{A770C351-5433-4408-A191-D8AB5C3DDC50}" dt="2022-05-30T16:46:22.408" v="748" actId="1038"/>
      <pc:docMkLst>
        <pc:docMk/>
      </pc:docMkLst>
      <pc:sldChg chg="modSp del mod">
        <pc:chgData name="O'Hagan. Sinead (Contractor - Ernst &amp; Young)" userId="37e0efa1-0107-4a6a-a201-5949a9329ddf" providerId="ADAL" clId="{A770C351-5433-4408-A191-D8AB5C3DDC50}" dt="2022-05-30T16:42:24.264" v="695" actId="47"/>
        <pc:sldMkLst>
          <pc:docMk/>
          <pc:sldMk cId="572090407" sldId="287"/>
        </pc:sldMkLst>
        <pc:spChg chg="mod">
          <ac:chgData name="O'Hagan. Sinead (Contractor - Ernst &amp; Young)" userId="37e0efa1-0107-4a6a-a201-5949a9329ddf" providerId="ADAL" clId="{A770C351-5433-4408-A191-D8AB5C3DDC50}" dt="2022-05-30T16:41:43.247" v="669" actId="13926"/>
          <ac:spMkLst>
            <pc:docMk/>
            <pc:sldMk cId="572090407" sldId="287"/>
            <ac:spMk id="3" creationId="{A51574A5-6666-4A2C-B201-0ED321391711}"/>
          </ac:spMkLst>
        </pc:spChg>
        <pc:spChg chg="mod">
          <ac:chgData name="O'Hagan. Sinead (Contractor - Ernst &amp; Young)" userId="37e0efa1-0107-4a6a-a201-5949a9329ddf" providerId="ADAL" clId="{A770C351-5433-4408-A191-D8AB5C3DDC50}" dt="2022-05-30T16:42:15.857" v="693" actId="1076"/>
          <ac:spMkLst>
            <pc:docMk/>
            <pc:sldMk cId="572090407" sldId="287"/>
            <ac:spMk id="4" creationId="{D230DBAC-B39C-40D6-BEEB-E28662D92091}"/>
          </ac:spMkLst>
        </pc:spChg>
      </pc:sldChg>
      <pc:sldChg chg="modSp add del mod modShow">
        <pc:chgData name="O'Hagan. Sinead (Contractor - Ernst &amp; Young)" userId="37e0efa1-0107-4a6a-a201-5949a9329ddf" providerId="ADAL" clId="{A770C351-5433-4408-A191-D8AB5C3DDC50}" dt="2022-05-30T15:40:41.994" v="528" actId="729"/>
        <pc:sldMkLst>
          <pc:docMk/>
          <pc:sldMk cId="1548013933" sldId="746"/>
        </pc:sldMkLst>
        <pc:spChg chg="mod">
          <ac:chgData name="O'Hagan. Sinead (Contractor - Ernst &amp; Young)" userId="37e0efa1-0107-4a6a-a201-5949a9329ddf" providerId="ADAL" clId="{A770C351-5433-4408-A191-D8AB5C3DDC50}" dt="2022-05-30T14:44:06.619" v="0" actId="1076"/>
          <ac:spMkLst>
            <pc:docMk/>
            <pc:sldMk cId="1548013933" sldId="746"/>
            <ac:spMk id="49" creationId="{798BB6E7-F418-4AFF-80E4-502CDABC165F}"/>
          </ac:spMkLst>
        </pc:spChg>
      </pc:sldChg>
      <pc:sldChg chg="delSp modSp del mod">
        <pc:chgData name="O'Hagan. Sinead (Contractor - Ernst &amp; Young)" userId="37e0efa1-0107-4a6a-a201-5949a9329ddf" providerId="ADAL" clId="{A770C351-5433-4408-A191-D8AB5C3DDC50}" dt="2022-05-30T16:42:43.888" v="698" actId="47"/>
        <pc:sldMkLst>
          <pc:docMk/>
          <pc:sldMk cId="3132681705" sldId="753"/>
        </pc:sldMkLst>
        <pc:spChg chg="del">
          <ac:chgData name="O'Hagan. Sinead (Contractor - Ernst &amp; Young)" userId="37e0efa1-0107-4a6a-a201-5949a9329ddf" providerId="ADAL" clId="{A770C351-5433-4408-A191-D8AB5C3DDC50}" dt="2022-05-30T15:40:04.980" v="510" actId="478"/>
          <ac:spMkLst>
            <pc:docMk/>
            <pc:sldMk cId="3132681705" sldId="753"/>
            <ac:spMk id="2" creationId="{7C2A0C31-DD89-4E3D-BEBC-EB3A4ADC1DB6}"/>
          </ac:spMkLst>
        </pc:spChg>
        <pc:spChg chg="mod">
          <ac:chgData name="O'Hagan. Sinead (Contractor - Ernst &amp; Young)" userId="37e0efa1-0107-4a6a-a201-5949a9329ddf" providerId="ADAL" clId="{A770C351-5433-4408-A191-D8AB5C3DDC50}" dt="2022-05-30T16:42:00.005" v="690" actId="14100"/>
          <ac:spMkLst>
            <pc:docMk/>
            <pc:sldMk cId="3132681705" sldId="753"/>
            <ac:spMk id="3" creationId="{A51574A5-6666-4A2C-B201-0ED321391711}"/>
          </ac:spMkLst>
        </pc:spChg>
        <pc:spChg chg="mod">
          <ac:chgData name="O'Hagan. Sinead (Contractor - Ernst &amp; Young)" userId="37e0efa1-0107-4a6a-a201-5949a9329ddf" providerId="ADAL" clId="{A770C351-5433-4408-A191-D8AB5C3DDC50}" dt="2022-05-30T15:39:27.808" v="477" actId="20577"/>
          <ac:spMkLst>
            <pc:docMk/>
            <pc:sldMk cId="3132681705" sldId="753"/>
            <ac:spMk id="4" creationId="{D230DBAC-B39C-40D6-BEEB-E28662D92091}"/>
          </ac:spMkLst>
        </pc:spChg>
      </pc:sldChg>
      <pc:sldChg chg="modSp mod">
        <pc:chgData name="O'Hagan. Sinead (Contractor - Ernst &amp; Young)" userId="37e0efa1-0107-4a6a-a201-5949a9329ddf" providerId="ADAL" clId="{A770C351-5433-4408-A191-D8AB5C3DDC50}" dt="2022-05-30T15:38:23.630" v="452" actId="20577"/>
        <pc:sldMkLst>
          <pc:docMk/>
          <pc:sldMk cId="4083202202" sldId="1263"/>
        </pc:sldMkLst>
        <pc:spChg chg="mod">
          <ac:chgData name="O'Hagan. Sinead (Contractor - Ernst &amp; Young)" userId="37e0efa1-0107-4a6a-a201-5949a9329ddf" providerId="ADAL" clId="{A770C351-5433-4408-A191-D8AB5C3DDC50}" dt="2022-05-30T15:38:16.539" v="444" actId="20577"/>
          <ac:spMkLst>
            <pc:docMk/>
            <pc:sldMk cId="4083202202" sldId="1263"/>
            <ac:spMk id="4" creationId="{18A7FD6C-669C-49E2-8A61-FFF2CD66CFFE}"/>
          </ac:spMkLst>
        </pc:spChg>
        <pc:spChg chg="mod">
          <ac:chgData name="O'Hagan. Sinead (Contractor - Ernst &amp; Young)" userId="37e0efa1-0107-4a6a-a201-5949a9329ddf" providerId="ADAL" clId="{A770C351-5433-4408-A191-D8AB5C3DDC50}" dt="2022-05-30T15:38:23.630" v="452" actId="20577"/>
          <ac:spMkLst>
            <pc:docMk/>
            <pc:sldMk cId="4083202202" sldId="1263"/>
            <ac:spMk id="7" creationId="{A2A8F692-D027-40EA-BAA7-5DBCE4BB831E}"/>
          </ac:spMkLst>
        </pc:spChg>
      </pc:sldChg>
      <pc:sldChg chg="addSp delSp modSp mod ord addCm modCm">
        <pc:chgData name="O'Hagan. Sinead (Contractor - Ernst &amp; Young)" userId="37e0efa1-0107-4a6a-a201-5949a9329ddf" providerId="ADAL" clId="{A770C351-5433-4408-A191-D8AB5C3DDC50}" dt="2022-05-30T16:46:22.408" v="748" actId="1038"/>
        <pc:sldMkLst>
          <pc:docMk/>
          <pc:sldMk cId="1305179589" sldId="1264"/>
        </pc:sldMkLst>
        <pc:spChg chg="mod">
          <ac:chgData name="O'Hagan. Sinead (Contractor - Ernst &amp; Young)" userId="37e0efa1-0107-4a6a-a201-5949a9329ddf" providerId="ADAL" clId="{A770C351-5433-4408-A191-D8AB5C3DDC50}" dt="2022-05-30T14:46:28.923" v="61" actId="1076"/>
          <ac:spMkLst>
            <pc:docMk/>
            <pc:sldMk cId="1305179589" sldId="1264"/>
            <ac:spMk id="9" creationId="{8BDC45E6-7222-484C-A910-28D08362D004}"/>
          </ac:spMkLst>
        </pc:spChg>
        <pc:spChg chg="mod">
          <ac:chgData name="O'Hagan. Sinead (Contractor - Ernst &amp; Young)" userId="37e0efa1-0107-4a6a-a201-5949a9329ddf" providerId="ADAL" clId="{A770C351-5433-4408-A191-D8AB5C3DDC50}" dt="2022-05-30T14:52:46.965" v="375" actId="1036"/>
          <ac:spMkLst>
            <pc:docMk/>
            <pc:sldMk cId="1305179589" sldId="1264"/>
            <ac:spMk id="10" creationId="{5C82632D-FD53-40AF-B874-E1C0AD2DEEF1}"/>
          </ac:spMkLst>
        </pc:spChg>
        <pc:spChg chg="mod">
          <ac:chgData name="O'Hagan. Sinead (Contractor - Ernst &amp; Young)" userId="37e0efa1-0107-4a6a-a201-5949a9329ddf" providerId="ADAL" clId="{A770C351-5433-4408-A191-D8AB5C3DDC50}" dt="2022-05-30T14:49:09.677" v="159" actId="1038"/>
          <ac:spMkLst>
            <pc:docMk/>
            <pc:sldMk cId="1305179589" sldId="1264"/>
            <ac:spMk id="11" creationId="{B7530A38-21E1-4E2E-AF62-CBFCA2AF2475}"/>
          </ac:spMkLst>
        </pc:spChg>
        <pc:spChg chg="del mod">
          <ac:chgData name="O'Hagan. Sinead (Contractor - Ernst &amp; Young)" userId="37e0efa1-0107-4a6a-a201-5949a9329ddf" providerId="ADAL" clId="{A770C351-5433-4408-A191-D8AB5C3DDC50}" dt="2022-05-30T16:39:48.946" v="611" actId="478"/>
          <ac:spMkLst>
            <pc:docMk/>
            <pc:sldMk cId="1305179589" sldId="1264"/>
            <ac:spMk id="33" creationId="{77740291-0D1F-4796-82A0-EB6DFE07CB1C}"/>
          </ac:spMkLst>
        </pc:spChg>
        <pc:spChg chg="mod">
          <ac:chgData name="O'Hagan. Sinead (Contractor - Ernst &amp; Young)" userId="37e0efa1-0107-4a6a-a201-5949a9329ddf" providerId="ADAL" clId="{A770C351-5433-4408-A191-D8AB5C3DDC50}" dt="2022-05-30T15:18:54.594" v="424" actId="1037"/>
          <ac:spMkLst>
            <pc:docMk/>
            <pc:sldMk cId="1305179589" sldId="1264"/>
            <ac:spMk id="36" creationId="{38128FC2-907E-48C7-B8EC-F9BD0B8A603D}"/>
          </ac:spMkLst>
        </pc:spChg>
        <pc:spChg chg="del mod">
          <ac:chgData name="O'Hagan. Sinead (Contractor - Ernst &amp; Young)" userId="37e0efa1-0107-4a6a-a201-5949a9329ddf" providerId="ADAL" clId="{A770C351-5433-4408-A191-D8AB5C3DDC50}" dt="2022-05-30T15:18:36.820" v="397" actId="478"/>
          <ac:spMkLst>
            <pc:docMk/>
            <pc:sldMk cId="1305179589" sldId="1264"/>
            <ac:spMk id="44" creationId="{F95A7848-4A94-483B-BF7C-F127166E7ED2}"/>
          </ac:spMkLst>
        </pc:spChg>
        <pc:spChg chg="mod">
          <ac:chgData name="O'Hagan. Sinead (Contractor - Ernst &amp; Young)" userId="37e0efa1-0107-4a6a-a201-5949a9329ddf" providerId="ADAL" clId="{A770C351-5433-4408-A191-D8AB5C3DDC50}" dt="2022-05-30T14:44:20.244" v="9" actId="1076"/>
          <ac:spMkLst>
            <pc:docMk/>
            <pc:sldMk cId="1305179589" sldId="1264"/>
            <ac:spMk id="49" creationId="{798BB6E7-F418-4AFF-80E4-502CDABC165F}"/>
          </ac:spMkLst>
        </pc:spChg>
        <pc:spChg chg="mod">
          <ac:chgData name="O'Hagan. Sinead (Contractor - Ernst &amp; Young)" userId="37e0efa1-0107-4a6a-a201-5949a9329ddf" providerId="ADAL" clId="{A770C351-5433-4408-A191-D8AB5C3DDC50}" dt="2022-05-30T16:46:09.855" v="730" actId="1038"/>
          <ac:spMkLst>
            <pc:docMk/>
            <pc:sldMk cId="1305179589" sldId="1264"/>
            <ac:spMk id="52" creationId="{027CB197-CD4D-47C1-869C-50EC9254F430}"/>
          </ac:spMkLst>
        </pc:spChg>
        <pc:spChg chg="mod">
          <ac:chgData name="O'Hagan. Sinead (Contractor - Ernst &amp; Young)" userId="37e0efa1-0107-4a6a-a201-5949a9329ddf" providerId="ADAL" clId="{A770C351-5433-4408-A191-D8AB5C3DDC50}" dt="2022-05-30T16:46:09.855" v="730" actId="1038"/>
          <ac:spMkLst>
            <pc:docMk/>
            <pc:sldMk cId="1305179589" sldId="1264"/>
            <ac:spMk id="53" creationId="{A327F519-BEBB-4E07-983E-3BD45F0C2D5B}"/>
          </ac:spMkLst>
        </pc:spChg>
        <pc:spChg chg="mod">
          <ac:chgData name="O'Hagan. Sinead (Contractor - Ernst &amp; Young)" userId="37e0efa1-0107-4a6a-a201-5949a9329ddf" providerId="ADAL" clId="{A770C351-5433-4408-A191-D8AB5C3DDC50}" dt="2022-05-30T16:46:22.408" v="748" actId="1038"/>
          <ac:spMkLst>
            <pc:docMk/>
            <pc:sldMk cId="1305179589" sldId="1264"/>
            <ac:spMk id="54" creationId="{91B419A2-E49B-46EC-AACF-99F0E9C6DADC}"/>
          </ac:spMkLst>
        </pc:spChg>
        <pc:spChg chg="mod">
          <ac:chgData name="O'Hagan. Sinead (Contractor - Ernst &amp; Young)" userId="37e0efa1-0107-4a6a-a201-5949a9329ddf" providerId="ADAL" clId="{A770C351-5433-4408-A191-D8AB5C3DDC50}" dt="2022-05-30T16:46:22.408" v="748" actId="1038"/>
          <ac:spMkLst>
            <pc:docMk/>
            <pc:sldMk cId="1305179589" sldId="1264"/>
            <ac:spMk id="55" creationId="{FE5E577D-5A2E-47D8-BBC6-693273EB7364}"/>
          </ac:spMkLst>
        </pc:spChg>
        <pc:spChg chg="mod">
          <ac:chgData name="O'Hagan. Sinead (Contractor - Ernst &amp; Young)" userId="37e0efa1-0107-4a6a-a201-5949a9329ddf" providerId="ADAL" clId="{A770C351-5433-4408-A191-D8AB5C3DDC50}" dt="2022-05-30T16:46:22.408" v="748" actId="1038"/>
          <ac:spMkLst>
            <pc:docMk/>
            <pc:sldMk cId="1305179589" sldId="1264"/>
            <ac:spMk id="56" creationId="{D9D9097B-2F96-40BC-9BDF-F4BB46C6114F}"/>
          </ac:spMkLst>
        </pc:spChg>
        <pc:spChg chg="mod">
          <ac:chgData name="O'Hagan. Sinead (Contractor - Ernst &amp; Young)" userId="37e0efa1-0107-4a6a-a201-5949a9329ddf" providerId="ADAL" clId="{A770C351-5433-4408-A191-D8AB5C3DDC50}" dt="2022-05-30T14:51:52.487" v="363" actId="1037"/>
          <ac:spMkLst>
            <pc:docMk/>
            <pc:sldMk cId="1305179589" sldId="1264"/>
            <ac:spMk id="57" creationId="{0A32AA08-F2BD-4D45-B5AA-16CBE5503D2C}"/>
          </ac:spMkLst>
        </pc:spChg>
        <pc:spChg chg="mod">
          <ac:chgData name="O'Hagan. Sinead (Contractor - Ernst &amp; Young)" userId="37e0efa1-0107-4a6a-a201-5949a9329ddf" providerId="ADAL" clId="{A770C351-5433-4408-A191-D8AB5C3DDC50}" dt="2022-05-30T14:44:41.542" v="49" actId="1037"/>
          <ac:spMkLst>
            <pc:docMk/>
            <pc:sldMk cId="1305179589" sldId="1264"/>
            <ac:spMk id="58" creationId="{998E59FC-57CA-4EA6-AA43-04D2ACD98FEC}"/>
          </ac:spMkLst>
        </pc:spChg>
        <pc:spChg chg="mod">
          <ac:chgData name="O'Hagan. Sinead (Contractor - Ernst &amp; Young)" userId="37e0efa1-0107-4a6a-a201-5949a9329ddf" providerId="ADAL" clId="{A770C351-5433-4408-A191-D8AB5C3DDC50}" dt="2022-05-30T14:47:18.428" v="96" actId="1037"/>
          <ac:spMkLst>
            <pc:docMk/>
            <pc:sldMk cId="1305179589" sldId="1264"/>
            <ac:spMk id="59" creationId="{20409CE0-04EA-4D0E-95D3-51054F194C9A}"/>
          </ac:spMkLst>
        </pc:spChg>
        <pc:spChg chg="mod">
          <ac:chgData name="O'Hagan. Sinead (Contractor - Ernst &amp; Young)" userId="37e0efa1-0107-4a6a-a201-5949a9329ddf" providerId="ADAL" clId="{A770C351-5433-4408-A191-D8AB5C3DDC50}" dt="2022-05-30T14:47:45.519" v="100" actId="1076"/>
          <ac:spMkLst>
            <pc:docMk/>
            <pc:sldMk cId="1305179589" sldId="1264"/>
            <ac:spMk id="60" creationId="{D5B32821-1000-43CF-BA79-2EC0EF59A9CE}"/>
          </ac:spMkLst>
        </pc:spChg>
        <pc:spChg chg="mod">
          <ac:chgData name="O'Hagan. Sinead (Contractor - Ernst &amp; Young)" userId="37e0efa1-0107-4a6a-a201-5949a9329ddf" providerId="ADAL" clId="{A770C351-5433-4408-A191-D8AB5C3DDC50}" dt="2022-05-30T15:14:53.336" v="386" actId="1036"/>
          <ac:spMkLst>
            <pc:docMk/>
            <pc:sldMk cId="1305179589" sldId="1264"/>
            <ac:spMk id="62" creationId="{8C45165A-9B8C-415E-8F4A-1A426B6E998E}"/>
          </ac:spMkLst>
        </pc:spChg>
        <pc:spChg chg="mod">
          <ac:chgData name="O'Hagan. Sinead (Contractor - Ernst &amp; Young)" userId="37e0efa1-0107-4a6a-a201-5949a9329ddf" providerId="ADAL" clId="{A770C351-5433-4408-A191-D8AB5C3DDC50}" dt="2022-05-30T14:49:31.625" v="199" actId="14100"/>
          <ac:spMkLst>
            <pc:docMk/>
            <pc:sldMk cId="1305179589" sldId="1264"/>
            <ac:spMk id="63" creationId="{BFF509DA-B727-49AC-AA9F-F577B3BFE4D5}"/>
          </ac:spMkLst>
        </pc:spChg>
        <pc:spChg chg="mod">
          <ac:chgData name="O'Hagan. Sinead (Contractor - Ernst &amp; Young)" userId="37e0efa1-0107-4a6a-a201-5949a9329ddf" providerId="ADAL" clId="{A770C351-5433-4408-A191-D8AB5C3DDC50}" dt="2022-05-30T15:16:01.564" v="394" actId="1035"/>
          <ac:spMkLst>
            <pc:docMk/>
            <pc:sldMk cId="1305179589" sldId="1264"/>
            <ac:spMk id="64" creationId="{EBDB9786-4A17-4A6E-A1A2-901AA8534559}"/>
          </ac:spMkLst>
        </pc:spChg>
        <pc:spChg chg="mod">
          <ac:chgData name="O'Hagan. Sinead (Contractor - Ernst &amp; Young)" userId="37e0efa1-0107-4a6a-a201-5949a9329ddf" providerId="ADAL" clId="{A770C351-5433-4408-A191-D8AB5C3DDC50}" dt="2022-05-30T14:47:10.424" v="82" actId="14100"/>
          <ac:spMkLst>
            <pc:docMk/>
            <pc:sldMk cId="1305179589" sldId="1264"/>
            <ac:spMk id="66" creationId="{3C9487B6-1CEE-4DF3-8EFC-6680D0CC5F2D}"/>
          </ac:spMkLst>
        </pc:spChg>
        <pc:spChg chg="mod">
          <ac:chgData name="O'Hagan. Sinead (Contractor - Ernst &amp; Young)" userId="37e0efa1-0107-4a6a-a201-5949a9329ddf" providerId="ADAL" clId="{A770C351-5433-4408-A191-D8AB5C3DDC50}" dt="2022-05-30T14:47:42.684" v="98" actId="1076"/>
          <ac:spMkLst>
            <pc:docMk/>
            <pc:sldMk cId="1305179589" sldId="1264"/>
            <ac:spMk id="67" creationId="{1DA4D602-E5D1-4C95-8AF7-0C68CD45375C}"/>
          </ac:spMkLst>
        </pc:spChg>
        <pc:spChg chg="mod">
          <ac:chgData name="O'Hagan. Sinead (Contractor - Ernst &amp; Young)" userId="37e0efa1-0107-4a6a-a201-5949a9329ddf" providerId="ADAL" clId="{A770C351-5433-4408-A191-D8AB5C3DDC50}" dt="2022-05-30T14:48:15.968" v="137" actId="1076"/>
          <ac:spMkLst>
            <pc:docMk/>
            <pc:sldMk cId="1305179589" sldId="1264"/>
            <ac:spMk id="68" creationId="{CCECB39E-D5B9-4CA2-9F58-70EEDDE7E7C0}"/>
          </ac:spMkLst>
        </pc:spChg>
        <pc:spChg chg="mod">
          <ac:chgData name="O'Hagan. Sinead (Contractor - Ernst &amp; Young)" userId="37e0efa1-0107-4a6a-a201-5949a9329ddf" providerId="ADAL" clId="{A770C351-5433-4408-A191-D8AB5C3DDC50}" dt="2022-05-30T14:48:42.447" v="139" actId="14100"/>
          <ac:spMkLst>
            <pc:docMk/>
            <pc:sldMk cId="1305179589" sldId="1264"/>
            <ac:spMk id="69" creationId="{6F9EA59F-D728-4A4C-9813-8B30899EC11C}"/>
          </ac:spMkLst>
        </pc:spChg>
        <pc:spChg chg="mod">
          <ac:chgData name="O'Hagan. Sinead (Contractor - Ernst &amp; Young)" userId="37e0efa1-0107-4a6a-a201-5949a9329ddf" providerId="ADAL" clId="{A770C351-5433-4408-A191-D8AB5C3DDC50}" dt="2022-05-30T15:19:13.429" v="431" actId="1038"/>
          <ac:spMkLst>
            <pc:docMk/>
            <pc:sldMk cId="1305179589" sldId="1264"/>
            <ac:spMk id="71" creationId="{9720295D-713A-45C8-9AF6-0C7867AE9D63}"/>
          </ac:spMkLst>
        </pc:spChg>
        <pc:spChg chg="mod">
          <ac:chgData name="O'Hagan. Sinead (Contractor - Ernst &amp; Young)" userId="37e0efa1-0107-4a6a-a201-5949a9329ddf" providerId="ADAL" clId="{A770C351-5433-4408-A191-D8AB5C3DDC50}" dt="2022-05-30T14:47:55.563" v="136" actId="1038"/>
          <ac:spMkLst>
            <pc:docMk/>
            <pc:sldMk cId="1305179589" sldId="1264"/>
            <ac:spMk id="72" creationId="{4C370CDE-FD2B-4F99-9771-AA80E5BCC3D7}"/>
          </ac:spMkLst>
        </pc:spChg>
        <pc:spChg chg="mod">
          <ac:chgData name="O'Hagan. Sinead (Contractor - Ernst &amp; Young)" userId="37e0efa1-0107-4a6a-a201-5949a9329ddf" providerId="ADAL" clId="{A770C351-5433-4408-A191-D8AB5C3DDC50}" dt="2022-05-30T14:52:46.965" v="375" actId="1036"/>
          <ac:spMkLst>
            <pc:docMk/>
            <pc:sldMk cId="1305179589" sldId="1264"/>
            <ac:spMk id="73" creationId="{D9FDC95B-0496-4E23-B9F1-B2895C6D888F}"/>
          </ac:spMkLst>
        </pc:spChg>
        <pc:spChg chg="mod">
          <ac:chgData name="O'Hagan. Sinead (Contractor - Ernst &amp; Young)" userId="37e0efa1-0107-4a6a-a201-5949a9329ddf" providerId="ADAL" clId="{A770C351-5433-4408-A191-D8AB5C3DDC50}" dt="2022-05-30T14:48:45.108" v="140" actId="1076"/>
          <ac:spMkLst>
            <pc:docMk/>
            <pc:sldMk cId="1305179589" sldId="1264"/>
            <ac:spMk id="74" creationId="{9E2A7B2B-D87A-42A2-9AF6-5E081761D40F}"/>
          </ac:spMkLst>
        </pc:spChg>
        <pc:spChg chg="mod">
          <ac:chgData name="O'Hagan. Sinead (Contractor - Ernst &amp; Young)" userId="37e0efa1-0107-4a6a-a201-5949a9329ddf" providerId="ADAL" clId="{A770C351-5433-4408-A191-D8AB5C3DDC50}" dt="2022-05-30T15:18:54.594" v="424" actId="1037"/>
          <ac:spMkLst>
            <pc:docMk/>
            <pc:sldMk cId="1305179589" sldId="1264"/>
            <ac:spMk id="76" creationId="{5CE892D0-AF21-44E5-9924-C83E33BAE798}"/>
          </ac:spMkLst>
        </pc:spChg>
        <pc:spChg chg="del mod">
          <ac:chgData name="O'Hagan. Sinead (Contractor - Ernst &amp; Young)" userId="37e0efa1-0107-4a6a-a201-5949a9329ddf" providerId="ADAL" clId="{A770C351-5433-4408-A191-D8AB5C3DDC50}" dt="2022-05-30T15:18:39.237" v="398" actId="478"/>
          <ac:spMkLst>
            <pc:docMk/>
            <pc:sldMk cId="1305179589" sldId="1264"/>
            <ac:spMk id="77" creationId="{0B9DC7A4-50A9-479F-9E0E-D87883BEEA79}"/>
          </ac:spMkLst>
        </pc:spChg>
        <pc:spChg chg="mod">
          <ac:chgData name="O'Hagan. Sinead (Contractor - Ernst &amp; Young)" userId="37e0efa1-0107-4a6a-a201-5949a9329ddf" providerId="ADAL" clId="{A770C351-5433-4408-A191-D8AB5C3DDC50}" dt="2022-05-30T15:19:03.161" v="427" actId="1038"/>
          <ac:spMkLst>
            <pc:docMk/>
            <pc:sldMk cId="1305179589" sldId="1264"/>
            <ac:spMk id="78" creationId="{7456F3D8-BF3C-45DC-A9EC-78345FD0D864}"/>
          </ac:spMkLst>
        </pc:spChg>
        <pc:spChg chg="mod">
          <ac:chgData name="O'Hagan. Sinead (Contractor - Ernst &amp; Young)" userId="37e0efa1-0107-4a6a-a201-5949a9329ddf" providerId="ADAL" clId="{A770C351-5433-4408-A191-D8AB5C3DDC50}" dt="2022-05-30T15:19:13.429" v="431" actId="1038"/>
          <ac:spMkLst>
            <pc:docMk/>
            <pc:sldMk cId="1305179589" sldId="1264"/>
            <ac:spMk id="79" creationId="{D9D7C29D-005C-404C-8555-906D40C756B7}"/>
          </ac:spMkLst>
        </pc:spChg>
        <pc:spChg chg="mod">
          <ac:chgData name="O'Hagan. Sinead (Contractor - Ernst &amp; Young)" userId="37e0efa1-0107-4a6a-a201-5949a9329ddf" providerId="ADAL" clId="{A770C351-5433-4408-A191-D8AB5C3DDC50}" dt="2022-05-30T15:19:17.838" v="433" actId="20577"/>
          <ac:spMkLst>
            <pc:docMk/>
            <pc:sldMk cId="1305179589" sldId="1264"/>
            <ac:spMk id="80" creationId="{FBC5A882-7841-4788-9637-8F33BFC786D5}"/>
          </ac:spMkLst>
        </pc:spChg>
        <pc:spChg chg="mod">
          <ac:chgData name="O'Hagan. Sinead (Contractor - Ernst &amp; Young)" userId="37e0efa1-0107-4a6a-a201-5949a9329ddf" providerId="ADAL" clId="{A770C351-5433-4408-A191-D8AB5C3DDC50}" dt="2022-05-30T14:48:48.296" v="141" actId="1076"/>
          <ac:spMkLst>
            <pc:docMk/>
            <pc:sldMk cId="1305179589" sldId="1264"/>
            <ac:spMk id="81" creationId="{28B4E6BA-8B40-45A2-A61D-A8EE0DEEFC08}"/>
          </ac:spMkLst>
        </pc:spChg>
        <pc:spChg chg="mod">
          <ac:chgData name="O'Hagan. Sinead (Contractor - Ernst &amp; Young)" userId="37e0efa1-0107-4a6a-a201-5949a9329ddf" providerId="ADAL" clId="{A770C351-5433-4408-A191-D8AB5C3DDC50}" dt="2022-05-30T14:49:09.677" v="159" actId="1038"/>
          <ac:spMkLst>
            <pc:docMk/>
            <pc:sldMk cId="1305179589" sldId="1264"/>
            <ac:spMk id="82" creationId="{D5607188-C0DB-473D-8C07-9D4A32B0CDA4}"/>
          </ac:spMkLst>
        </pc:spChg>
        <pc:spChg chg="mod">
          <ac:chgData name="O'Hagan. Sinead (Contractor - Ernst &amp; Young)" userId="37e0efa1-0107-4a6a-a201-5949a9329ddf" providerId="ADAL" clId="{A770C351-5433-4408-A191-D8AB5C3DDC50}" dt="2022-05-30T14:49:09.677" v="159" actId="1038"/>
          <ac:spMkLst>
            <pc:docMk/>
            <pc:sldMk cId="1305179589" sldId="1264"/>
            <ac:spMk id="83" creationId="{CF244996-15AB-43F8-A15B-E3BA01EC91A6}"/>
          </ac:spMkLst>
        </pc:spChg>
        <pc:spChg chg="mod">
          <ac:chgData name="O'Hagan. Sinead (Contractor - Ernst &amp; Young)" userId="37e0efa1-0107-4a6a-a201-5949a9329ddf" providerId="ADAL" clId="{A770C351-5433-4408-A191-D8AB5C3DDC50}" dt="2022-05-30T14:51:52.487" v="363" actId="1037"/>
          <ac:spMkLst>
            <pc:docMk/>
            <pc:sldMk cId="1305179589" sldId="1264"/>
            <ac:spMk id="84" creationId="{825CB496-19EF-4B4C-8E89-FE79673B51B9}"/>
          </ac:spMkLst>
        </pc:spChg>
        <pc:spChg chg="add mod">
          <ac:chgData name="O'Hagan. Sinead (Contractor - Ernst &amp; Young)" userId="37e0efa1-0107-4a6a-a201-5949a9329ddf" providerId="ADAL" clId="{A770C351-5433-4408-A191-D8AB5C3DDC50}" dt="2022-05-30T16:39:53.763" v="627" actId="1037"/>
          <ac:spMkLst>
            <pc:docMk/>
            <pc:sldMk cId="1305179589" sldId="1264"/>
            <ac:spMk id="85" creationId="{8A71B760-3C90-410E-B799-1185F2FC574E}"/>
          </ac:spMkLst>
        </pc:spChg>
        <pc:cxnChg chg="mod">
          <ac:chgData name="O'Hagan. Sinead (Contractor - Ernst &amp; Young)" userId="37e0efa1-0107-4a6a-a201-5949a9329ddf" providerId="ADAL" clId="{A770C351-5433-4408-A191-D8AB5C3DDC50}" dt="2022-05-30T14:52:04.723" v="365" actId="1037"/>
          <ac:cxnSpMkLst>
            <pc:docMk/>
            <pc:sldMk cId="1305179589" sldId="1264"/>
            <ac:cxnSpMk id="18" creationId="{5395D984-737C-40CA-8336-D43A6177D62C}"/>
          </ac:cxnSpMkLst>
        </pc:cxnChg>
      </pc:sldChg>
      <pc:sldChg chg="mod ord modShow">
        <pc:chgData name="O'Hagan. Sinead (Contractor - Ernst &amp; Young)" userId="37e0efa1-0107-4a6a-a201-5949a9329ddf" providerId="ADAL" clId="{A770C351-5433-4408-A191-D8AB5C3DDC50}" dt="2022-05-30T16:37:08.860" v="533"/>
        <pc:sldMkLst>
          <pc:docMk/>
          <pc:sldMk cId="4273931027" sldId="257305"/>
        </pc:sldMkLst>
      </pc:sldChg>
      <pc:sldChg chg="addSp delSp modSp new mod">
        <pc:chgData name="O'Hagan. Sinead (Contractor - Ernst &amp; Young)" userId="37e0efa1-0107-4a6a-a201-5949a9329ddf" providerId="ADAL" clId="{A770C351-5433-4408-A191-D8AB5C3DDC50}" dt="2022-05-30T16:42:19.479" v="694"/>
        <pc:sldMkLst>
          <pc:docMk/>
          <pc:sldMk cId="2678521947" sldId="257306"/>
        </pc:sldMkLst>
        <pc:spChg chg="mod">
          <ac:chgData name="O'Hagan. Sinead (Contractor - Ernst &amp; Young)" userId="37e0efa1-0107-4a6a-a201-5949a9329ddf" providerId="ADAL" clId="{A770C351-5433-4408-A191-D8AB5C3DDC50}" dt="2022-05-30T16:42:19.479" v="694"/>
          <ac:spMkLst>
            <pc:docMk/>
            <pc:sldMk cId="2678521947" sldId="257306"/>
            <ac:spMk id="2" creationId="{C6DCFC3A-B2E8-4F48-8027-60CD710926B0}"/>
          </ac:spMkLst>
        </pc:spChg>
        <pc:spChg chg="del">
          <ac:chgData name="O'Hagan. Sinead (Contractor - Ernst &amp; Young)" userId="37e0efa1-0107-4a6a-a201-5949a9329ddf" providerId="ADAL" clId="{A770C351-5433-4408-A191-D8AB5C3DDC50}" dt="2022-05-30T16:42:10.711" v="692"/>
          <ac:spMkLst>
            <pc:docMk/>
            <pc:sldMk cId="2678521947" sldId="257306"/>
            <ac:spMk id="3" creationId="{EC976DD2-BD62-4ADA-A007-79B177D9F379}"/>
          </ac:spMkLst>
        </pc:spChg>
        <pc:spChg chg="add mod">
          <ac:chgData name="O'Hagan. Sinead (Contractor - Ernst &amp; Young)" userId="37e0efa1-0107-4a6a-a201-5949a9329ddf" providerId="ADAL" clId="{A770C351-5433-4408-A191-D8AB5C3DDC50}" dt="2022-05-30T16:42:10.711" v="692"/>
          <ac:spMkLst>
            <pc:docMk/>
            <pc:sldMk cId="2678521947" sldId="257306"/>
            <ac:spMk id="4" creationId="{41825E9A-DF3E-44B2-A2BB-5D3F04B1C432}"/>
          </ac:spMkLst>
        </pc:spChg>
      </pc:sldChg>
      <pc:sldChg chg="modSp add mod">
        <pc:chgData name="O'Hagan. Sinead (Contractor - Ernst &amp; Young)" userId="37e0efa1-0107-4a6a-a201-5949a9329ddf" providerId="ADAL" clId="{A770C351-5433-4408-A191-D8AB5C3DDC50}" dt="2022-05-30T16:42:33.396" v="697"/>
        <pc:sldMkLst>
          <pc:docMk/>
          <pc:sldMk cId="197788441" sldId="257307"/>
        </pc:sldMkLst>
        <pc:spChg chg="mod">
          <ac:chgData name="O'Hagan. Sinead (Contractor - Ernst &amp; Young)" userId="37e0efa1-0107-4a6a-a201-5949a9329ddf" providerId="ADAL" clId="{A770C351-5433-4408-A191-D8AB5C3DDC50}" dt="2022-05-30T16:42:33.396" v="697"/>
          <ac:spMkLst>
            <pc:docMk/>
            <pc:sldMk cId="197788441" sldId="257307"/>
            <ac:spMk id="4" creationId="{41825E9A-DF3E-44B2-A2BB-5D3F04B1C432}"/>
          </ac:spMkLst>
        </pc:spChg>
      </pc:sldChg>
      <pc:sldMasterChg chg="delSldLayout">
        <pc:chgData name="O'Hagan. Sinead (Contractor - Ernst &amp; Young)" userId="37e0efa1-0107-4a6a-a201-5949a9329ddf" providerId="ADAL" clId="{A770C351-5433-4408-A191-D8AB5C3DDC50}" dt="2022-05-30T16:42:43.888" v="698" actId="47"/>
        <pc:sldMasterMkLst>
          <pc:docMk/>
          <pc:sldMasterMk cId="1537391827" sldId="2147484169"/>
        </pc:sldMasterMkLst>
        <pc:sldLayoutChg chg="del">
          <pc:chgData name="O'Hagan. Sinead (Contractor - Ernst &amp; Young)" userId="37e0efa1-0107-4a6a-a201-5949a9329ddf" providerId="ADAL" clId="{A770C351-5433-4408-A191-D8AB5C3DDC50}" dt="2022-05-30T16:42:24.264" v="695" actId="47"/>
          <pc:sldLayoutMkLst>
            <pc:docMk/>
            <pc:sldMasterMk cId="1537391827" sldId="2147484169"/>
            <pc:sldLayoutMk cId="4038141088" sldId="2147484240"/>
          </pc:sldLayoutMkLst>
        </pc:sldLayoutChg>
        <pc:sldLayoutChg chg="del">
          <pc:chgData name="O'Hagan. Sinead (Contractor - Ernst &amp; Young)" userId="37e0efa1-0107-4a6a-a201-5949a9329ddf" providerId="ADAL" clId="{A770C351-5433-4408-A191-D8AB5C3DDC50}" dt="2022-05-30T16:42:43.888" v="698" actId="47"/>
          <pc:sldLayoutMkLst>
            <pc:docMk/>
            <pc:sldMasterMk cId="1537391827" sldId="2147484169"/>
            <pc:sldLayoutMk cId="1915657721" sldId="2147484241"/>
          </pc:sldLayoutMkLst>
        </pc:sldLayoutChg>
      </pc:sldMasterChg>
    </pc:docChg>
  </pc:docChgLst>
  <pc:docChgLst>
    <pc:chgData name="Hassett. Rachel (Consultant - EY)" userId="S::consultant.rachel.hassett@esb.ie::b7d2e2b0-3019-4ec4-beb3-a42a62b65a21" providerId="AD" clId="Web-{B6AA171B-C59F-B062-F6D8-8A4E5307B403}"/>
    <pc:docChg chg="modSld">
      <pc:chgData name="Hassett. Rachel (Consultant - EY)" userId="S::consultant.rachel.hassett@esb.ie::b7d2e2b0-3019-4ec4-beb3-a42a62b65a21" providerId="AD" clId="Web-{B6AA171B-C59F-B062-F6D8-8A4E5307B403}" dt="2024-02-22T17:21:01.544" v="52"/>
      <pc:docMkLst>
        <pc:docMk/>
      </pc:docMkLst>
      <pc:sldChg chg="modSp modCm">
        <pc:chgData name="Hassett. Rachel (Consultant - EY)" userId="S::consultant.rachel.hassett@esb.ie::b7d2e2b0-3019-4ec4-beb3-a42a62b65a21" providerId="AD" clId="Web-{B6AA171B-C59F-B062-F6D8-8A4E5307B403}" dt="2024-02-22T17:21:01.544" v="52"/>
        <pc:sldMkLst>
          <pc:docMk/>
          <pc:sldMk cId="2445383505" sldId="257310"/>
        </pc:sldMkLst>
        <pc:graphicFrameChg chg="mod modGraphic">
          <ac:chgData name="Hassett. Rachel (Consultant - EY)" userId="S::consultant.rachel.hassett@esb.ie::b7d2e2b0-3019-4ec4-beb3-a42a62b65a21" providerId="AD" clId="Web-{B6AA171B-C59F-B062-F6D8-8A4E5307B403}" dt="2024-02-22T17:20:29.918" v="51"/>
          <ac:graphicFrameMkLst>
            <pc:docMk/>
            <pc:sldMk cId="2445383505" sldId="257310"/>
            <ac:graphicFrameMk id="3" creationId="{F6746E20-92FE-F01D-CEC1-AC4718664EC6}"/>
          </ac:graphicFrameMkLst>
        </pc:graphicFrameChg>
      </pc:sldChg>
    </pc:docChg>
  </pc:docChgLst>
  <pc:docChgLst>
    <pc:chgData name="Power. Damien (Contractor - EY)" userId="S::contractor.damien.power@esb.ie::a1f4b3c0-1096-4948-b5f9-75b086acdda0" providerId="AD" clId="Web-{773B1E3B-DA4D-DD45-F9A9-22CE64C29A3B}"/>
    <pc:docChg chg="addSld modSld">
      <pc:chgData name="Power. Damien (Contractor - EY)" userId="S::contractor.damien.power@esb.ie::a1f4b3c0-1096-4948-b5f9-75b086acdda0" providerId="AD" clId="Web-{773B1E3B-DA4D-DD45-F9A9-22CE64C29A3B}" dt="2024-02-22T17:05:38.767" v="493"/>
      <pc:docMkLst>
        <pc:docMk/>
      </pc:docMkLst>
      <pc:sldChg chg="addSp delSp modSp modCm">
        <pc:chgData name="Power. Damien (Contractor - EY)" userId="S::contractor.damien.power@esb.ie::a1f4b3c0-1096-4948-b5f9-75b086acdda0" providerId="AD" clId="Web-{773B1E3B-DA4D-DD45-F9A9-22CE64C29A3B}" dt="2024-02-22T17:03:36.842" v="474"/>
        <pc:sldMkLst>
          <pc:docMk/>
          <pc:sldMk cId="2678521947" sldId="257306"/>
        </pc:sldMkLst>
        <pc:spChg chg="mod">
          <ac:chgData name="Power. Damien (Contractor - EY)" userId="S::contractor.damien.power@esb.ie::a1f4b3c0-1096-4948-b5f9-75b086acdda0" providerId="AD" clId="Web-{773B1E3B-DA4D-DD45-F9A9-22CE64C29A3B}" dt="2024-02-22T16:55:44.360" v="9" actId="20577"/>
          <ac:spMkLst>
            <pc:docMk/>
            <pc:sldMk cId="2678521947" sldId="257306"/>
            <ac:spMk id="4" creationId="{41825E9A-DF3E-44B2-A2BB-5D3F04B1C432}"/>
          </ac:spMkLst>
        </pc:spChg>
        <pc:spChg chg="add del mod">
          <ac:chgData name="Power. Damien (Contractor - EY)" userId="S::contractor.damien.power@esb.ie::a1f4b3c0-1096-4948-b5f9-75b086acdda0" providerId="AD" clId="Web-{773B1E3B-DA4D-DD45-F9A9-22CE64C29A3B}" dt="2024-02-22T16:58:41.162" v="385"/>
          <ac:spMkLst>
            <pc:docMk/>
            <pc:sldMk cId="2678521947" sldId="257306"/>
            <ac:spMk id="5" creationId="{7A369C8A-9237-B117-2349-94A8556A2C44}"/>
          </ac:spMkLst>
        </pc:spChg>
        <pc:graphicFrameChg chg="add del mod modGraphic">
          <ac:chgData name="Power. Damien (Contractor - EY)" userId="S::contractor.damien.power@esb.ie::a1f4b3c0-1096-4948-b5f9-75b086acdda0" providerId="AD" clId="Web-{773B1E3B-DA4D-DD45-F9A9-22CE64C29A3B}" dt="2024-02-22T17:01:24.807" v="463"/>
          <ac:graphicFrameMkLst>
            <pc:docMk/>
            <pc:sldMk cId="2678521947" sldId="257306"/>
            <ac:graphicFrameMk id="3" creationId="{F6746E20-92FE-F01D-CEC1-AC4718664EC6}"/>
          </ac:graphicFrameMkLst>
        </pc:graphicFrameChg>
      </pc:sldChg>
      <pc:sldChg chg="modCm">
        <pc:chgData name="Power. Damien (Contractor - EY)" userId="S::contractor.damien.power@esb.ie::a1f4b3c0-1096-4948-b5f9-75b086acdda0" providerId="AD" clId="Web-{773B1E3B-DA4D-DD45-F9A9-22CE64C29A3B}" dt="2024-02-22T17:04:31.530" v="476"/>
        <pc:sldMkLst>
          <pc:docMk/>
          <pc:sldMk cId="869737009" sldId="257308"/>
        </pc:sldMkLst>
      </pc:sldChg>
      <pc:sldChg chg="addSp modSp modCm">
        <pc:chgData name="Power. Damien (Contractor - EY)" userId="S::contractor.damien.power@esb.ie::a1f4b3c0-1096-4948-b5f9-75b086acdda0" providerId="AD" clId="Web-{773B1E3B-DA4D-DD45-F9A9-22CE64C29A3B}" dt="2024-02-22T17:05:38.767" v="493"/>
        <pc:sldMkLst>
          <pc:docMk/>
          <pc:sldMk cId="3704071719" sldId="257309"/>
        </pc:sldMkLst>
        <pc:spChg chg="mod">
          <ac:chgData name="Power. Damien (Contractor - EY)" userId="S::contractor.damien.power@esb.ie::a1f4b3c0-1096-4948-b5f9-75b086acdda0" providerId="AD" clId="Web-{773B1E3B-DA4D-DD45-F9A9-22CE64C29A3B}" dt="2024-02-22T17:05:10.875" v="487" actId="20577"/>
          <ac:spMkLst>
            <pc:docMk/>
            <pc:sldMk cId="3704071719" sldId="257309"/>
            <ac:spMk id="43" creationId="{939B50AA-BDF4-4932-960C-5A66A00B8A22}"/>
          </ac:spMkLst>
        </pc:spChg>
        <pc:spChg chg="mod">
          <ac:chgData name="Power. Damien (Contractor - EY)" userId="S::contractor.damien.power@esb.ie::a1f4b3c0-1096-4948-b5f9-75b086acdda0" providerId="AD" clId="Web-{773B1E3B-DA4D-DD45-F9A9-22CE64C29A3B}" dt="2024-02-22T17:05:21.516" v="491" actId="20577"/>
          <ac:spMkLst>
            <pc:docMk/>
            <pc:sldMk cId="3704071719" sldId="257309"/>
            <ac:spMk id="66" creationId="{9C35B3CE-5994-5D63-D550-70B506B3676D}"/>
          </ac:spMkLst>
        </pc:spChg>
        <pc:grpChg chg="add mod">
          <ac:chgData name="Power. Damien (Contractor - EY)" userId="S::contractor.damien.power@esb.ie::a1f4b3c0-1096-4948-b5f9-75b086acdda0" providerId="AD" clId="Web-{773B1E3B-DA4D-DD45-F9A9-22CE64C29A3B}" dt="2024-02-22T17:05:19.297" v="489" actId="1076"/>
          <ac:grpSpMkLst>
            <pc:docMk/>
            <pc:sldMk cId="3704071719" sldId="257309"/>
            <ac:grpSpMk id="64" creationId="{A21C8769-F6BB-B59B-7DB6-8B358933E28F}"/>
          </ac:grpSpMkLst>
        </pc:grpChg>
      </pc:sldChg>
      <pc:sldChg chg="modSp add replId addCm delCm modCm">
        <pc:chgData name="Power. Damien (Contractor - EY)" userId="S::contractor.damien.power@esb.ie::a1f4b3c0-1096-4948-b5f9-75b086acdda0" providerId="AD" clId="Web-{773B1E3B-DA4D-DD45-F9A9-22CE64C29A3B}" dt="2024-02-22T17:04:09.249" v="475"/>
        <pc:sldMkLst>
          <pc:docMk/>
          <pc:sldMk cId="2445383505" sldId="257310"/>
        </pc:sldMkLst>
        <pc:spChg chg="mod">
          <ac:chgData name="Power. Damien (Contractor - EY)" userId="S::contractor.damien.power@esb.ie::a1f4b3c0-1096-4948-b5f9-75b086acdda0" providerId="AD" clId="Web-{773B1E3B-DA4D-DD45-F9A9-22CE64C29A3B}" dt="2024-02-22T17:00:55.400" v="458" actId="20577"/>
          <ac:spMkLst>
            <pc:docMk/>
            <pc:sldMk cId="2445383505" sldId="257310"/>
            <ac:spMk id="4" creationId="{41825E9A-DF3E-44B2-A2BB-5D3F04B1C432}"/>
          </ac:spMkLst>
        </pc:spChg>
        <pc:graphicFrameChg chg="mod modGraphic">
          <ac:chgData name="Power. Damien (Contractor - EY)" userId="S::contractor.damien.power@esb.ie::a1f4b3c0-1096-4948-b5f9-75b086acdda0" providerId="AD" clId="Web-{773B1E3B-DA4D-DD45-F9A9-22CE64C29A3B}" dt="2024-02-22T17:02:51.872" v="473"/>
          <ac:graphicFrameMkLst>
            <pc:docMk/>
            <pc:sldMk cId="2445383505" sldId="257310"/>
            <ac:graphicFrameMk id="3" creationId="{F6746E20-92FE-F01D-CEC1-AC4718664EC6}"/>
          </ac:graphicFrameMkLst>
        </pc:graphicFrameChg>
      </pc:sldChg>
    </pc:docChg>
  </pc:docChgLst>
  <pc:docChgLst>
    <pc:chgData name="Corcoran. Emer (ESB Networks)" userId="S::emer.corcoran@esb.ie::be6c6ed3-1caa-45fc-aff4-32e0fc3d4911" providerId="AD" clId="Web-{E8D52FA4-3CF2-2218-E14A-25E1442DC239}"/>
    <pc:docChg chg="">
      <pc:chgData name="Corcoran. Emer (ESB Networks)" userId="S::emer.corcoran@esb.ie::be6c6ed3-1caa-45fc-aff4-32e0fc3d4911" providerId="AD" clId="Web-{E8D52FA4-3CF2-2218-E14A-25E1442DC239}" dt="2024-02-22T10:49:28.111" v="0"/>
      <pc:docMkLst>
        <pc:docMk/>
      </pc:docMkLst>
      <pc:sldChg chg="addCm">
        <pc:chgData name="Corcoran. Emer (ESB Networks)" userId="S::emer.corcoran@esb.ie::be6c6ed3-1caa-45fc-aff4-32e0fc3d4911" providerId="AD" clId="Web-{E8D52FA4-3CF2-2218-E14A-25E1442DC239}" dt="2024-02-22T10:49:28.111" v="0"/>
        <pc:sldMkLst>
          <pc:docMk/>
          <pc:sldMk cId="2678521947" sldId="257306"/>
        </pc:sldMkLst>
      </pc:sldChg>
    </pc:docChg>
  </pc:docChgLst>
  <pc:docChgLst>
    <pc:chgData name="Corcoran. Emer (ESB Networks)" userId="S::emer.corcoran@esb.ie::be6c6ed3-1caa-45fc-aff4-32e0fc3d4911" providerId="AD" clId="Web-{9081E255-1C0C-9740-4B96-84840DF2F331}"/>
    <pc:docChg chg="">
      <pc:chgData name="Corcoran. Emer (ESB Networks)" userId="S::emer.corcoran@esb.ie::be6c6ed3-1caa-45fc-aff4-32e0fc3d4911" providerId="AD" clId="Web-{9081E255-1C0C-9740-4B96-84840DF2F331}" dt="2024-02-29T14:07:09.498" v="1"/>
      <pc:docMkLst>
        <pc:docMk/>
      </pc:docMkLst>
      <pc:sldChg chg="modCm">
        <pc:chgData name="Corcoran. Emer (ESB Networks)" userId="S::emer.corcoran@esb.ie::be6c6ed3-1caa-45fc-aff4-32e0fc3d4911" providerId="AD" clId="Web-{9081E255-1C0C-9740-4B96-84840DF2F331}" dt="2024-02-29T14:00:26.532" v="0"/>
        <pc:sldMkLst>
          <pc:docMk/>
          <pc:sldMk cId="197788441" sldId="257307"/>
        </pc:sldMkLst>
        <pc:extLst>
          <p:ext xmlns:p="http://schemas.openxmlformats.org/presentationml/2006/main" uri="{D6D511B9-2390-475A-947B-AFAB55BFBCF1}">
            <pc226:cmChg xmlns:pc226="http://schemas.microsoft.com/office/powerpoint/2022/06/main/command" chg="">
              <pc226:chgData name="Corcoran. Emer (ESB Networks)" userId="S::emer.corcoran@esb.ie::be6c6ed3-1caa-45fc-aff4-32e0fc3d4911" providerId="AD" clId="Web-{9081E255-1C0C-9740-4B96-84840DF2F331}" dt="2024-02-29T14:00:26.532" v="0"/>
              <pc2:cmMkLst xmlns:pc2="http://schemas.microsoft.com/office/powerpoint/2019/9/main/command">
                <pc:docMk/>
                <pc:sldMk cId="197788441" sldId="257307"/>
                <pc2:cmMk id="{DE7F0380-854F-4F32-B887-8C2F2632E89A}"/>
              </pc2:cmMkLst>
              <pc226:cmRplyChg chg="add">
                <pc226:chgData name="Corcoran. Emer (ESB Networks)" userId="S::emer.corcoran@esb.ie::be6c6ed3-1caa-45fc-aff4-32e0fc3d4911" providerId="AD" clId="Web-{9081E255-1C0C-9740-4B96-84840DF2F331}" dt="2024-02-29T14:00:26.532" v="0"/>
                <pc2:cmRplyMkLst xmlns:pc2="http://schemas.microsoft.com/office/powerpoint/2019/9/main/command">
                  <pc:docMk/>
                  <pc:sldMk cId="197788441" sldId="257307"/>
                  <pc2:cmMk id="{DE7F0380-854F-4F32-B887-8C2F2632E89A}"/>
                  <pc2:cmRplyMk id="{A41020E4-BEAA-4334-A09B-69DC36E0F676}"/>
                </pc2:cmRplyMkLst>
              </pc226:cmRplyChg>
            </pc226:cmChg>
          </p:ext>
        </pc:extLst>
      </pc:sldChg>
      <pc:sldChg chg="addCm">
        <pc:chgData name="Corcoran. Emer (ESB Networks)" userId="S::emer.corcoran@esb.ie::be6c6ed3-1caa-45fc-aff4-32e0fc3d4911" providerId="AD" clId="Web-{9081E255-1C0C-9740-4B96-84840DF2F331}" dt="2024-02-29T14:07:09.498" v="1"/>
        <pc:sldMkLst>
          <pc:docMk/>
          <pc:sldMk cId="2445383505" sldId="257310"/>
        </pc:sldMkLst>
        <pc:extLst>
          <p:ext xmlns:p="http://schemas.openxmlformats.org/presentationml/2006/main" uri="{D6D511B9-2390-475A-947B-AFAB55BFBCF1}">
            <pc226:cmChg xmlns:pc226="http://schemas.microsoft.com/office/powerpoint/2022/06/main/command" chg="add">
              <pc226:chgData name="Corcoran. Emer (ESB Networks)" userId="S::emer.corcoran@esb.ie::be6c6ed3-1caa-45fc-aff4-32e0fc3d4911" providerId="AD" clId="Web-{9081E255-1C0C-9740-4B96-84840DF2F331}" dt="2024-02-29T14:07:09.498" v="1"/>
              <pc2:cmMkLst xmlns:pc2="http://schemas.microsoft.com/office/powerpoint/2019/9/main/command">
                <pc:docMk/>
                <pc:sldMk cId="2445383505" sldId="257310"/>
                <pc2:cmMk id="{AEE34034-3DBD-4B5C-89E9-39B9EBE3BFFE}"/>
              </pc2:cmMkLst>
            </pc226:cmChg>
          </p:ext>
        </pc:extLst>
      </pc:sldChg>
    </pc:docChg>
  </pc:docChgLst>
  <pc:docChgLst>
    <pc:chgData name="Power. Damien (Contractor - EY)" userId="S::contractor.damien.power@esb.ie::a1f4b3c0-1096-4948-b5f9-75b086acdda0" providerId="AD" clId="Web-{1269822D-0320-CF6A-2AE9-12E519BCF8B3}"/>
    <pc:docChg chg="">
      <pc:chgData name="Power. Damien (Contractor - EY)" userId="S::contractor.damien.power@esb.ie::a1f4b3c0-1096-4948-b5f9-75b086acdda0" providerId="AD" clId="Web-{1269822D-0320-CF6A-2AE9-12E519BCF8B3}" dt="2024-02-22T12:07:56.243" v="0"/>
      <pc:docMkLst>
        <pc:docMk/>
      </pc:docMkLst>
      <pc:sldChg chg="modCm">
        <pc:chgData name="Power. Damien (Contractor - EY)" userId="S::contractor.damien.power@esb.ie::a1f4b3c0-1096-4948-b5f9-75b086acdda0" providerId="AD" clId="Web-{1269822D-0320-CF6A-2AE9-12E519BCF8B3}" dt="2024-02-22T12:07:56.243" v="0"/>
        <pc:sldMkLst>
          <pc:docMk/>
          <pc:sldMk cId="4083202202" sldId="1263"/>
        </pc:sldMkLst>
      </pc:sldChg>
    </pc:docChg>
  </pc:docChgLst>
  <pc:docChgLst>
    <pc:chgData name="O'Hagan. Sinead (Contractor - Ernst &amp; Young)" userId="37e0efa1-0107-4a6a-a201-5949a9329ddf" providerId="ADAL" clId="{1FFC5F39-B124-42F0-9CF5-84264F3396CC}"/>
    <pc:docChg chg="custSel modSld">
      <pc:chgData name="O'Hagan. Sinead (Contractor - Ernst &amp; Young)" userId="37e0efa1-0107-4a6a-a201-5949a9329ddf" providerId="ADAL" clId="{1FFC5F39-B124-42F0-9CF5-84264F3396CC}" dt="2022-06-07T17:36:38.046" v="6" actId="1589"/>
      <pc:docMkLst>
        <pc:docMk/>
      </pc:docMkLst>
      <pc:sldChg chg="addCm delCm modCm">
        <pc:chgData name="O'Hagan. Sinead (Contractor - Ernst &amp; Young)" userId="37e0efa1-0107-4a6a-a201-5949a9329ddf" providerId="ADAL" clId="{1FFC5F39-B124-42F0-9CF5-84264F3396CC}" dt="2022-06-07T17:36:38.046" v="6" actId="1589"/>
        <pc:sldMkLst>
          <pc:docMk/>
          <pc:sldMk cId="1305179589" sldId="1264"/>
        </pc:sldMkLst>
      </pc:sldChg>
    </pc:docChg>
  </pc:docChgLst>
</pc:chgInfo>
</file>

<file path=ppt/comments/modernComment_3ED1E_91C19751.xml><?xml version="1.0" encoding="utf-8"?>
<p188:cmLst xmlns:a="http://schemas.openxmlformats.org/drawingml/2006/main" xmlns:r="http://schemas.openxmlformats.org/officeDocument/2006/relationships" xmlns:p188="http://schemas.microsoft.com/office/powerpoint/2018/8/main">
  <p188:cm id="{AEE34034-3DBD-4B5C-89E9-39B9EBE3BFFE}" authorId="{BC19C626-1BAD-83B9-4E75-016E94FDD19D}" status="resolved" created="2024-02-29T14:07:09.498" complete="100000">
    <pc:sldMkLst xmlns:pc="http://schemas.microsoft.com/office/powerpoint/2013/main/command">
      <pc:docMk/>
      <pc:sldMk cId="2445383505" sldId="257310"/>
    </pc:sldMkLst>
    <p188:replyLst>
      <p188:reply id="{55FCF1E9-35C4-42CD-8F01-D8CDFE861B6D}" authorId="{57DDCA45-E6F0-6330-EF12-0488D3B97B9C}" created="2024-02-29T14:37:51.536">
        <p188:txBody>
          <a:bodyPr/>
          <a:lstStyle/>
          <a:p>
            <a:r>
              <a:rPr lang="en-GB"/>
              <a:t>[@Hassett. Rachel (Consultant - EY)] are you happy with the proposed wording above?</a:t>
            </a:r>
          </a:p>
        </p188:txBody>
      </p188:reply>
      <p188:reply id="{E5CAB1A8-C9A1-405E-A1F2-943A009C794D}" authorId="{13F09D6C-9680-23E3-2854-EE6AFFCC83C0}" created="2024-02-29T14:46:45.879">
        <p188:txBody>
          <a:bodyPr/>
          <a:lstStyle/>
          <a:p>
            <a:r>
              <a:rPr lang="en-GB"/>
              <a:t>hi [@Corcoran. Emer (ESB Networks)]  [@Power. Damien (Contractor - EY)]  - i don't think we need that level of detail for a roadmap, we communicated it at TWG and can include it as a release note when the draft is issued :)</a:t>
            </a:r>
          </a:p>
        </p188:txBody>
      </p188:reply>
      <p188:reply id="{26DFC38C-9FA9-4D04-89CE-163F6D99E44F}" authorId="{BC19C626-1BAD-83B9-4E75-016E94FDD19D}" created="2024-02-29T15:00:11.874">
        <p188:txBody>
          <a:bodyPr/>
          <a:lstStyle/>
          <a:p>
            <a:r>
              <a:rPr lang="en-US"/>
              <a:t>Perfect thanks Rachel. The row just looked a little blank and lonely to me :( </a:t>
            </a:r>
          </a:p>
        </p188:txBody>
      </p188:reply>
    </p188:replyLst>
    <p188:txBody>
      <a:bodyPr/>
      <a:lstStyle/>
      <a:p>
        <a:r>
          <a:rPr lang="en-GB"/>
          <a:t>[@Power. Damien (Contractor - EY)] Do we need to add a note against Draft 3? This is what was communicated last October:
The following corrections have since been identified for inclusion in Draft 3, to be issued to Market Participants in March 2024:
The Smart Data Services segment on the 105 Market Message which includes a new field for Estimated Annual Consumption as per MCR1209, will be amended from “SmartDataServices_105” to “105_SmartDataServices”, in line with the naming convention for other message-specific segments. 
There are two files representing the new 603 Market Message – MIM603withRecordCount.xsd and MIM603.xsd. ESBN confirm that there will only be one file provided in the next Draft schema to be issued. This file will be called MIM603.xsd in line with existing market messages. 
What do you think ...  maybe add "Draft schema including corrected105MM and one version of 603MM" ??</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hdr" sz="quarter"/>
          </p:nvPr>
        </p:nvSpPr>
        <p:spPr bwMode="auto">
          <a:xfrm>
            <a:off x="1" y="0"/>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5" rIns="91549" bIns="45775" numCol="1" anchor="t" anchorCtr="0" compatLnSpc="1">
            <a:prstTxWarp prst="textNoShape">
              <a:avLst/>
            </a:prstTxWarp>
          </a:bodyPr>
          <a:lstStyle>
            <a:lvl1pPr eaLnBrk="1" hangingPunct="1">
              <a:defRPr sz="1200"/>
            </a:lvl1pPr>
          </a:lstStyle>
          <a:p>
            <a:pPr>
              <a:defRPr/>
            </a:pPr>
            <a:endParaRPr lang="en-US"/>
          </a:p>
        </p:txBody>
      </p:sp>
      <p:sp>
        <p:nvSpPr>
          <p:cNvPr id="43011" name="Rectangle 3"/>
          <p:cNvSpPr>
            <a:spLocks noGrp="1" noChangeArrowheads="1"/>
          </p:cNvSpPr>
          <p:nvPr>
            <p:ph type="dt" idx="1"/>
          </p:nvPr>
        </p:nvSpPr>
        <p:spPr bwMode="auto">
          <a:xfrm>
            <a:off x="3850445" y="0"/>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5" rIns="91549" bIns="45775" numCol="1" anchor="t" anchorCtr="0" compatLnSpc="1">
            <a:prstTxWarp prst="textNoShape">
              <a:avLst/>
            </a:prstTxWarp>
          </a:bodyPr>
          <a:lstStyle>
            <a:lvl1pPr algn="r" eaLnBrk="1" hangingPunct="1">
              <a:defRPr sz="1200"/>
            </a:lvl1pPr>
          </a:lstStyle>
          <a:p>
            <a:pPr>
              <a:defRPr/>
            </a:pPr>
            <a:endParaRPr lang="en-US"/>
          </a:p>
        </p:txBody>
      </p:sp>
      <p:sp>
        <p:nvSpPr>
          <p:cNvPr id="27652"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43013" name="Rectangle 5"/>
          <p:cNvSpPr>
            <a:spLocks noGrp="1" noChangeArrowheads="1"/>
          </p:cNvSpPr>
          <p:nvPr>
            <p:ph type="body" sz="quarter" idx="3"/>
          </p:nvPr>
        </p:nvSpPr>
        <p:spPr bwMode="auto">
          <a:xfrm>
            <a:off x="679768" y="4715907"/>
            <a:ext cx="5438140" cy="4467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5" rIns="91549" bIns="45775"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3014" name="Rectangle 6"/>
          <p:cNvSpPr>
            <a:spLocks noGrp="1" noChangeArrowheads="1"/>
          </p:cNvSpPr>
          <p:nvPr>
            <p:ph type="ftr" sz="quarter" idx="4"/>
          </p:nvPr>
        </p:nvSpPr>
        <p:spPr bwMode="auto">
          <a:xfrm>
            <a:off x="1" y="943009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5" rIns="91549" bIns="45775" numCol="1" anchor="b" anchorCtr="0" compatLnSpc="1">
            <a:prstTxWarp prst="textNoShape">
              <a:avLst/>
            </a:prstTxWarp>
          </a:bodyPr>
          <a:lstStyle>
            <a:lvl1pPr eaLnBrk="1" hangingPunct="1">
              <a:defRPr sz="1200"/>
            </a:lvl1pPr>
          </a:lstStyle>
          <a:p>
            <a:pPr>
              <a:defRPr/>
            </a:pPr>
            <a:endParaRPr lang="en-US"/>
          </a:p>
        </p:txBody>
      </p:sp>
      <p:sp>
        <p:nvSpPr>
          <p:cNvPr id="43015" name="Rectangle 7"/>
          <p:cNvSpPr>
            <a:spLocks noGrp="1" noChangeArrowheads="1"/>
          </p:cNvSpPr>
          <p:nvPr>
            <p:ph type="sldNum" sz="quarter" idx="5"/>
          </p:nvPr>
        </p:nvSpPr>
        <p:spPr bwMode="auto">
          <a:xfrm>
            <a:off x="3850445" y="9430091"/>
            <a:ext cx="2945659" cy="4964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49" tIns="45775" rIns="91549" bIns="45775" numCol="1" anchor="b" anchorCtr="0" compatLnSpc="1">
            <a:prstTxWarp prst="textNoShape">
              <a:avLst/>
            </a:prstTxWarp>
          </a:bodyPr>
          <a:lstStyle>
            <a:lvl1pPr algn="r" eaLnBrk="1" hangingPunct="1">
              <a:defRPr sz="1200"/>
            </a:lvl1pPr>
          </a:lstStyle>
          <a:p>
            <a:pPr>
              <a:defRPr/>
            </a:pPr>
            <a:fld id="{5336F82E-CED3-48F8-AE5F-A0E0796CCA8B}" type="slidenum">
              <a:rPr lang="en-US"/>
              <a:pPr>
                <a:defRPr/>
              </a:pPr>
              <a:t>‹#›</a:t>
            </a:fld>
            <a:endParaRPr lang="en-US"/>
          </a:p>
        </p:txBody>
      </p:sp>
    </p:spTree>
    <p:extLst>
      <p:ext uri="{BB962C8B-B14F-4D97-AF65-F5344CB8AC3E}">
        <p14:creationId xmlns:p14="http://schemas.microsoft.com/office/powerpoint/2010/main" val="28272842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336F82E-CED3-48F8-AE5F-A0E0796CCA8B}"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558660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2</a:t>
            </a:fld>
            <a:endParaRPr lang="en-US"/>
          </a:p>
        </p:txBody>
      </p:sp>
    </p:spTree>
    <p:extLst>
      <p:ext uri="{BB962C8B-B14F-4D97-AF65-F5344CB8AC3E}">
        <p14:creationId xmlns:p14="http://schemas.microsoft.com/office/powerpoint/2010/main" val="3916574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5"/>
          </p:nvPr>
        </p:nvSpPr>
        <p:spPr/>
        <p:txBody>
          <a:bodyPr/>
          <a:lstStyle/>
          <a:p>
            <a:pPr>
              <a:defRPr/>
            </a:pPr>
            <a:fld id="{5336F82E-CED3-48F8-AE5F-A0E0796CCA8B}" type="slidenum">
              <a:rPr lang="en-US" smtClean="0"/>
              <a:pPr>
                <a:defRPr/>
              </a:pPr>
              <a:t>4</a:t>
            </a:fld>
            <a:endParaRPr lang="en-US"/>
          </a:p>
        </p:txBody>
      </p:sp>
    </p:spTree>
    <p:extLst>
      <p:ext uri="{BB962C8B-B14F-4D97-AF65-F5344CB8AC3E}">
        <p14:creationId xmlns:p14="http://schemas.microsoft.com/office/powerpoint/2010/main" val="34710741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4.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4.xml"/><Relationship Id="rId4" Type="http://schemas.openxmlformats.org/officeDocument/2006/relationships/image" Target="../media/image4.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6.xml"/><Relationship Id="rId4" Type="http://schemas.openxmlformats.org/officeDocument/2006/relationships/image" Target="../media/image8.emf"/></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7.xml"/><Relationship Id="rId4" Type="http://schemas.openxmlformats.org/officeDocument/2006/relationships/image" Target="../media/image4.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ectangle 17"/>
          <p:cNvSpPr>
            <a:spLocks noGrp="1" noChangeArrowheads="1"/>
          </p:cNvSpPr>
          <p:nvPr>
            <p:ph type="title"/>
          </p:nvPr>
        </p:nvSpPr>
        <p:spPr bwMode="auto">
          <a:xfrm>
            <a:off x="2500800" y="2503489"/>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lvl="0"/>
            <a:r>
              <a:rPr lang="en-US"/>
              <a:t>Click to edit Master title style</a:t>
            </a:r>
          </a:p>
        </p:txBody>
      </p:sp>
      <p:sp>
        <p:nvSpPr>
          <p:cNvPr id="5" name="Rectangle 18"/>
          <p:cNvSpPr>
            <a:spLocks noGrp="1" noChangeArrowheads="1"/>
          </p:cNvSpPr>
          <p:nvPr>
            <p:ph idx="1"/>
          </p:nvPr>
        </p:nvSpPr>
        <p:spPr bwMode="auto">
          <a:xfrm>
            <a:off x="2500800" y="3133726"/>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lvl="0"/>
            <a:r>
              <a:rPr lang="en-US" noProof="0"/>
              <a:t>Click to edit Master text styles</a:t>
            </a:r>
          </a:p>
        </p:txBody>
      </p:sp>
    </p:spTree>
    <p:extLst>
      <p:ext uri="{BB962C8B-B14F-4D97-AF65-F5344CB8AC3E}">
        <p14:creationId xmlns:p14="http://schemas.microsoft.com/office/powerpoint/2010/main" val="28147171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3157902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1718"/>
            <a:ext cx="12195042" cy="6856282"/>
          </a:xfrm>
          <a:prstGeom prst="rect">
            <a:avLst/>
          </a:prstGeom>
          <a:noFill/>
          <a:ln>
            <a:noFill/>
          </a:ln>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6514" y="287016"/>
            <a:ext cx="2591999" cy="1046019"/>
          </a:xfrm>
          <a:prstGeom prst="rect">
            <a:avLst/>
          </a:prstGeom>
        </p:spPr>
      </p:pic>
      <p:sp>
        <p:nvSpPr>
          <p:cNvPr id="2" name="Title 1"/>
          <p:cNvSpPr>
            <a:spLocks noGrp="1"/>
          </p:cNvSpPr>
          <p:nvPr>
            <p:ph type="ctrTitle"/>
          </p:nvPr>
        </p:nvSpPr>
        <p:spPr>
          <a:xfrm>
            <a:off x="1617972" y="1358537"/>
            <a:ext cx="5376000" cy="1591036"/>
          </a:xfrm>
        </p:spPr>
        <p:txBody>
          <a:bodyPr bIns="36000" anchor="b">
            <a:normAutofit/>
          </a:bodyPr>
          <a:lstStyle>
            <a:lvl1pPr algn="l">
              <a:lnSpc>
                <a:spcPct val="90000"/>
              </a:lnSpc>
              <a:defRPr sz="3200" b="0" baseline="0">
                <a:solidFill>
                  <a:schemeClr val="tx1"/>
                </a:solidFill>
              </a:defRPr>
            </a:lvl1pPr>
          </a:lstStyle>
          <a:p>
            <a:r>
              <a:rPr lang="en-US"/>
              <a:t>Click to edit Master title style</a:t>
            </a:r>
            <a:endParaRPr lang="en-IE"/>
          </a:p>
        </p:txBody>
      </p:sp>
      <p:sp>
        <p:nvSpPr>
          <p:cNvPr id="3" name="Subtitle 2"/>
          <p:cNvSpPr>
            <a:spLocks noGrp="1"/>
          </p:cNvSpPr>
          <p:nvPr>
            <p:ph type="subTitle" idx="1"/>
          </p:nvPr>
        </p:nvSpPr>
        <p:spPr>
          <a:xfrm>
            <a:off x="1617972" y="2890838"/>
            <a:ext cx="5376000" cy="1001712"/>
          </a:xfrm>
        </p:spPr>
        <p:txBody>
          <a:bodyPr tIns="36000"/>
          <a:lstStyle>
            <a:lvl1pPr marL="0" indent="0" algn="l">
              <a:buNone/>
              <a:defRPr sz="18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IE"/>
          </a:p>
        </p:txBody>
      </p:sp>
      <p:sp>
        <p:nvSpPr>
          <p:cNvPr id="4" name="Date Placeholder 3"/>
          <p:cNvSpPr>
            <a:spLocks noGrp="1"/>
          </p:cNvSpPr>
          <p:nvPr>
            <p:ph type="dt" sz="half" idx="10"/>
          </p:nvPr>
        </p:nvSpPr>
        <p:spPr/>
        <p:txBody>
          <a:bodyPr/>
          <a:lstStyle>
            <a:lvl1pPr>
              <a:defRPr>
                <a:solidFill>
                  <a:schemeClr val="tx2"/>
                </a:solidFill>
              </a:defRPr>
            </a:lvl1pPr>
          </a:lstStyle>
          <a:p>
            <a:fld id="{380F0368-ED71-4380-8A0A-C8EC1E4B6E2D}" type="datetimeFigureOut">
              <a:rPr lang="en-IE" smtClean="0"/>
              <a:pPr/>
              <a:t>01/03/2024</a:t>
            </a:fld>
            <a:endParaRPr lang="en-IE"/>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IE"/>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A13BAFD-C6E1-49C5-8C3D-26FF884B8F3D}" type="slidenum">
              <a:rPr lang="en-IE" smtClean="0"/>
              <a:pPr/>
              <a:t>‹#›</a:t>
            </a:fld>
            <a:endParaRPr lang="en-IE"/>
          </a:p>
        </p:txBody>
      </p:sp>
    </p:spTree>
    <p:extLst>
      <p:ext uri="{BB962C8B-B14F-4D97-AF65-F5344CB8AC3E}">
        <p14:creationId xmlns:p14="http://schemas.microsoft.com/office/powerpoint/2010/main" val="1926106823"/>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8" name="Content Placeholder 7"/>
          <p:cNvSpPr>
            <a:spLocks noGrp="1"/>
          </p:cNvSpPr>
          <p:nvPr>
            <p:ph sz="quarter" idx="13"/>
          </p:nvPr>
        </p:nvSpPr>
        <p:spPr>
          <a:xfrm>
            <a:off x="515938" y="1332000"/>
            <a:ext cx="11163300" cy="4697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Date Placeholder 6"/>
          <p:cNvSpPr>
            <a:spLocks noGrp="1"/>
          </p:cNvSpPr>
          <p:nvPr>
            <p:ph type="dt" sz="half" idx="14"/>
          </p:nvPr>
        </p:nvSpPr>
        <p:spPr/>
        <p:txBody>
          <a:bodyPr/>
          <a:lstStyle/>
          <a:p>
            <a:fld id="{380F0368-ED71-4380-8A0A-C8EC1E4B6E2D}" type="datetimeFigureOut">
              <a:rPr lang="en-IE" smtClean="0"/>
              <a:pPr/>
              <a:t>01/03/2024</a:t>
            </a:fld>
            <a:endParaRPr lang="en-IE"/>
          </a:p>
        </p:txBody>
      </p:sp>
      <p:sp>
        <p:nvSpPr>
          <p:cNvPr id="9" name="Footer Placeholder 8"/>
          <p:cNvSpPr>
            <a:spLocks noGrp="1"/>
          </p:cNvSpPr>
          <p:nvPr>
            <p:ph type="ftr" sz="quarter" idx="15"/>
          </p:nvPr>
        </p:nvSpPr>
        <p:spPr/>
        <p:txBody>
          <a:bodyPr/>
          <a:lstStyle/>
          <a:p>
            <a:endParaRPr lang="en-IE"/>
          </a:p>
        </p:txBody>
      </p:sp>
      <p:sp>
        <p:nvSpPr>
          <p:cNvPr id="10" name="Slide Number Placeholder 9"/>
          <p:cNvSpPr>
            <a:spLocks noGrp="1"/>
          </p:cNvSpPr>
          <p:nvPr>
            <p:ph type="sldNum" sz="quarter" idx="16"/>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354985237"/>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5" y="1713"/>
            <a:ext cx="12195050" cy="6856287"/>
          </a:xfrm>
          <a:prstGeom prst="rect">
            <a:avLst/>
          </a:prstGeom>
        </p:spPr>
      </p:pic>
      <p:sp>
        <p:nvSpPr>
          <p:cNvPr id="2" name="Title 1"/>
          <p:cNvSpPr>
            <a:spLocks noGrp="1"/>
          </p:cNvSpPr>
          <p:nvPr>
            <p:ph type="title"/>
          </p:nvPr>
        </p:nvSpPr>
        <p:spPr>
          <a:xfrm>
            <a:off x="1085306" y="81237"/>
            <a:ext cx="9217570" cy="2852737"/>
          </a:xfrm>
        </p:spPr>
        <p:txBody>
          <a:bodyPr anchor="b"/>
          <a:lstStyle>
            <a:lvl1pPr>
              <a:defRPr sz="2500">
                <a:solidFill>
                  <a:schemeClr val="tx1"/>
                </a:solidFill>
              </a:defRPr>
            </a:lvl1pPr>
          </a:lstStyle>
          <a:p>
            <a:r>
              <a:rPr lang="en-US"/>
              <a:t>Click to edit Master title style</a:t>
            </a:r>
            <a:endParaRPr lang="en-IE"/>
          </a:p>
        </p:txBody>
      </p:sp>
      <p:sp>
        <p:nvSpPr>
          <p:cNvPr id="3" name="Text Placeholder 2"/>
          <p:cNvSpPr>
            <a:spLocks noGrp="1"/>
          </p:cNvSpPr>
          <p:nvPr>
            <p:ph type="body" idx="1"/>
          </p:nvPr>
        </p:nvSpPr>
        <p:spPr>
          <a:xfrm>
            <a:off x="1085306" y="2830333"/>
            <a:ext cx="9217570" cy="1500187"/>
          </a:xfrm>
        </p:spPr>
        <p:txBody>
          <a:bodyPr/>
          <a:lstStyle>
            <a:lvl1pPr marL="0" indent="0">
              <a:buNone/>
              <a:defRPr sz="1800">
                <a:solidFill>
                  <a:schemeClr val="accent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p>
            <a:fld id="{380F0368-ED71-4380-8A0A-C8EC1E4B6E2D}" type="datetimeFigureOut">
              <a:rPr lang="en-IE" smtClean="0"/>
              <a:t>01/03/2024</a:t>
            </a:fld>
            <a:endParaRPr lang="en-IE"/>
          </a:p>
        </p:txBody>
      </p:sp>
      <p:sp>
        <p:nvSpPr>
          <p:cNvPr id="5" name="Footer Placeholder 4"/>
          <p:cNvSpPr>
            <a:spLocks noGrp="1"/>
          </p:cNvSpPr>
          <p:nvPr>
            <p:ph type="ftr" sz="quarter" idx="11"/>
          </p:nvPr>
        </p:nvSpPr>
        <p:spPr>
          <a:xfrm>
            <a:off x="1085306" y="6480487"/>
            <a:ext cx="2947556" cy="255326"/>
          </a:xfrm>
        </p:spPr>
        <p:txBody>
          <a:bodyPr/>
          <a:lstStyle>
            <a:lvl1pPr algn="l">
              <a:defRPr/>
            </a:lvl1pPr>
          </a:lstStyle>
          <a:p>
            <a:endParaRPr lang="en-IE"/>
          </a:p>
        </p:txBody>
      </p:sp>
      <p:sp>
        <p:nvSpPr>
          <p:cNvPr id="6" name="Slide Number Placeholder 5"/>
          <p:cNvSpPr>
            <a:spLocks noGrp="1"/>
          </p:cNvSpPr>
          <p:nvPr>
            <p:ph type="sldNum" sz="quarter" idx="12"/>
          </p:nvPr>
        </p:nvSpPr>
        <p:spPr/>
        <p:txBody>
          <a:bodyPr/>
          <a:lstStyle>
            <a:lvl1pPr algn="l">
              <a:defRPr/>
            </a:lvl1pPr>
          </a:lstStyle>
          <a:p>
            <a:fld id="{4A13BAFD-C6E1-49C5-8C3D-26FF884B8F3D}" type="slidenum">
              <a:rPr lang="en-IE" smtClean="0"/>
              <a:pPr/>
              <a:t>‹#›</a:t>
            </a:fld>
            <a:endParaRPr lang="en-IE"/>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66215" y="5884267"/>
            <a:ext cx="1871999" cy="755457"/>
          </a:xfrm>
          <a:prstGeom prst="rect">
            <a:avLst/>
          </a:prstGeom>
        </p:spPr>
      </p:pic>
    </p:spTree>
    <p:extLst>
      <p:ext uri="{BB962C8B-B14F-4D97-AF65-F5344CB8AC3E}">
        <p14:creationId xmlns:p14="http://schemas.microsoft.com/office/powerpoint/2010/main" val="2584526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secHead" preserve="1">
  <p:cSld name="Section Divider Blend">
    <p:bg>
      <p:bgPr>
        <a:gradFill>
          <a:gsLst>
            <a:gs pos="0">
              <a:srgbClr val="0D134F"/>
            </a:gs>
            <a:gs pos="35000">
              <a:srgbClr val="467BBC"/>
            </a:gs>
            <a:gs pos="92000">
              <a:srgbClr val="B6BF00"/>
            </a:gs>
            <a:gs pos="58000">
              <a:srgbClr val="009FDF"/>
            </a:gs>
            <a:gs pos="100000">
              <a:srgbClr val="FFD600"/>
            </a:gs>
          </a:gsLst>
          <a:lin ang="19320000" scaled="0"/>
        </a:gra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E77AA58-0DF8-459F-A67A-15B9B63111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5" y="1713"/>
            <a:ext cx="12195050" cy="685628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66215" y="5884267"/>
            <a:ext cx="1871999" cy="755458"/>
          </a:xfrm>
          <a:prstGeom prst="rect">
            <a:avLst/>
          </a:prstGeom>
        </p:spPr>
      </p:pic>
      <p:sp>
        <p:nvSpPr>
          <p:cNvPr id="2" name="Title 1"/>
          <p:cNvSpPr>
            <a:spLocks noGrp="1"/>
          </p:cNvSpPr>
          <p:nvPr>
            <p:ph type="title"/>
          </p:nvPr>
        </p:nvSpPr>
        <p:spPr>
          <a:xfrm>
            <a:off x="1079414" y="81237"/>
            <a:ext cx="9223462" cy="2852737"/>
          </a:xfrm>
        </p:spPr>
        <p:txBody>
          <a:bodyPr anchor="b"/>
          <a:lstStyle>
            <a:lvl1pPr>
              <a:defRPr sz="2500">
                <a:solidFill>
                  <a:schemeClr val="tx2"/>
                </a:solidFill>
              </a:defRPr>
            </a:lvl1pPr>
          </a:lstStyle>
          <a:p>
            <a:r>
              <a:rPr lang="en-US"/>
              <a:t>Click to edit Master title style</a:t>
            </a:r>
            <a:endParaRPr lang="en-IE"/>
          </a:p>
        </p:txBody>
      </p:sp>
      <p:sp>
        <p:nvSpPr>
          <p:cNvPr id="3" name="Text Placeholder 2"/>
          <p:cNvSpPr>
            <a:spLocks noGrp="1"/>
          </p:cNvSpPr>
          <p:nvPr>
            <p:ph type="body" idx="1"/>
          </p:nvPr>
        </p:nvSpPr>
        <p:spPr>
          <a:xfrm>
            <a:off x="1079414" y="2830333"/>
            <a:ext cx="9223462" cy="1500187"/>
          </a:xfrm>
        </p:spPr>
        <p:txBody>
          <a:bodyPr/>
          <a:lstStyle>
            <a:lvl1pPr marL="0" indent="0">
              <a:buNone/>
              <a:defRPr sz="1800">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737674" y="6467158"/>
            <a:ext cx="1224841" cy="259825"/>
          </a:xfrm>
        </p:spPr>
        <p:txBody>
          <a:bodyPr/>
          <a:lstStyle>
            <a:lvl1pPr>
              <a:defRPr>
                <a:solidFill>
                  <a:schemeClr val="tx1"/>
                </a:solidFill>
              </a:defRPr>
            </a:lvl1pPr>
          </a:lstStyle>
          <a:p>
            <a:fld id="{380F0368-ED71-4380-8A0A-C8EC1E4B6E2D}" type="datetimeFigureOut">
              <a:rPr lang="en-IE" smtClean="0"/>
              <a:pPr/>
              <a:t>01/03/2024</a:t>
            </a:fld>
            <a:endParaRPr lang="en-IE"/>
          </a:p>
        </p:txBody>
      </p:sp>
      <p:sp>
        <p:nvSpPr>
          <p:cNvPr id="5" name="Footer Placeholder 4"/>
          <p:cNvSpPr>
            <a:spLocks noGrp="1"/>
          </p:cNvSpPr>
          <p:nvPr>
            <p:ph type="ftr" sz="quarter" idx="11"/>
          </p:nvPr>
        </p:nvSpPr>
        <p:spPr>
          <a:xfrm>
            <a:off x="1079413" y="6480487"/>
            <a:ext cx="2981235" cy="255326"/>
          </a:xfrm>
        </p:spPr>
        <p:txBody>
          <a:bodyPr/>
          <a:lstStyle>
            <a:lvl1pPr algn="l">
              <a:defRPr>
                <a:solidFill>
                  <a:schemeClr val="tx1"/>
                </a:solidFill>
              </a:defRPr>
            </a:lvl1pPr>
          </a:lstStyle>
          <a:p>
            <a:endParaRPr lang="en-IE"/>
          </a:p>
        </p:txBody>
      </p:sp>
      <p:sp>
        <p:nvSpPr>
          <p:cNvPr id="6" name="Slide Number Placeholder 5"/>
          <p:cNvSpPr>
            <a:spLocks noGrp="1"/>
          </p:cNvSpPr>
          <p:nvPr>
            <p:ph type="sldNum" sz="quarter" idx="12"/>
          </p:nvPr>
        </p:nvSpPr>
        <p:spPr/>
        <p:txBody>
          <a:bodyPr/>
          <a:lstStyle>
            <a:lvl1pPr algn="l">
              <a:defRPr>
                <a:solidFill>
                  <a:schemeClr val="tx1"/>
                </a:solidFill>
              </a:defRPr>
            </a:lvl1pPr>
          </a:lstStyle>
          <a:p>
            <a:fld id="{4A13BAFD-C6E1-49C5-8C3D-26FF884B8F3D}" type="slidenum">
              <a:rPr lang="en-IE" smtClean="0"/>
              <a:pPr/>
              <a:t>‹#›</a:t>
            </a:fld>
            <a:endParaRPr lang="en-IE"/>
          </a:p>
        </p:txBody>
      </p:sp>
    </p:spTree>
    <p:extLst>
      <p:ext uri="{BB962C8B-B14F-4D97-AF65-F5344CB8AC3E}">
        <p14:creationId xmlns:p14="http://schemas.microsoft.com/office/powerpoint/2010/main" val="2223744226"/>
      </p:ext>
    </p:extLst>
  </p:cSld>
  <p:clrMapOvr>
    <a:masterClrMapping/>
  </p:clrMapOvr>
  <p:extLst>
    <p:ext uri="{DCECCB84-F9BA-43D5-87BE-67443E8EF086}">
      <p15:sldGuideLst xmlns:p15="http://schemas.microsoft.com/office/powerpoint/2012/main">
        <p15:guide id="1" orient="horz" pos="3872">
          <p15:clr>
            <a:srgbClr val="FBAE40"/>
          </p15:clr>
        </p15:guide>
        <p15:guide id="2" orient="horz" pos="4091">
          <p15:clr>
            <a:srgbClr val="FBAE40"/>
          </p15:clr>
        </p15:guide>
        <p15:guide id="3" pos="7256">
          <p15:clr>
            <a:srgbClr val="FBAE40"/>
          </p15:clr>
        </p15:guide>
        <p15:guide id="4" pos="6352">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9046" y="221194"/>
            <a:ext cx="9568800" cy="711736"/>
          </a:xfrm>
        </p:spPr>
        <p:txBody>
          <a:bodyPr/>
          <a:lstStyle/>
          <a:p>
            <a:r>
              <a:rPr lang="en-US"/>
              <a:t>Click to edit Master title style</a:t>
            </a:r>
            <a:endParaRPr lang="en-IE"/>
          </a:p>
        </p:txBody>
      </p:sp>
      <p:sp>
        <p:nvSpPr>
          <p:cNvPr id="3" name="Content Placeholder 2"/>
          <p:cNvSpPr>
            <a:spLocks noGrp="1"/>
          </p:cNvSpPr>
          <p:nvPr>
            <p:ph sz="half" idx="1"/>
          </p:nvPr>
        </p:nvSpPr>
        <p:spPr>
          <a:xfrm>
            <a:off x="509046" y="1357459"/>
            <a:ext cx="5410742"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202836" y="1357459"/>
            <a:ext cx="5472689" cy="4732255"/>
          </a:xfrm>
        </p:spPr>
        <p:txBody>
          <a:bodyPr t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9" name="Date Placeholder 8"/>
          <p:cNvSpPr>
            <a:spLocks noGrp="1"/>
          </p:cNvSpPr>
          <p:nvPr>
            <p:ph type="dt" sz="half" idx="10"/>
          </p:nvPr>
        </p:nvSpPr>
        <p:spPr/>
        <p:txBody>
          <a:bodyPr/>
          <a:lstStyle/>
          <a:p>
            <a:fld id="{380F0368-ED71-4380-8A0A-C8EC1E4B6E2D}" type="datetimeFigureOut">
              <a:rPr lang="en-IE" smtClean="0"/>
              <a:pPr/>
              <a:t>01/03/2024</a:t>
            </a:fld>
            <a:endParaRPr lang="en-IE"/>
          </a:p>
        </p:txBody>
      </p:sp>
      <p:sp>
        <p:nvSpPr>
          <p:cNvPr id="10" name="Footer Placeholder 9"/>
          <p:cNvSpPr>
            <a:spLocks noGrp="1"/>
          </p:cNvSpPr>
          <p:nvPr>
            <p:ph type="ftr" sz="quarter" idx="11"/>
          </p:nvPr>
        </p:nvSpPr>
        <p:spPr/>
        <p:txBody>
          <a:bodyPr/>
          <a:lstStyle/>
          <a:p>
            <a:endParaRPr lang="en-IE"/>
          </a:p>
        </p:txBody>
      </p:sp>
      <p:sp>
        <p:nvSpPr>
          <p:cNvPr id="11" name="Slide Number Placeholder 10"/>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1827212448"/>
      </p:ext>
    </p:extLst>
  </p:cSld>
  <p:clrMapOvr>
    <a:masterClrMapping/>
  </p:clrMapOvr>
  <p:extLst>
    <p:ext uri="{DCECCB84-F9BA-43D5-87BE-67443E8EF086}">
      <p15:sldGuideLst xmlns:p15="http://schemas.microsoft.com/office/powerpoint/2012/main">
        <p15:guide id="1" pos="3477">
          <p15:clr>
            <a:srgbClr val="FBAE40"/>
          </p15:clr>
        </p15:guide>
        <p15:guide id="2" pos="3729">
          <p15:clr>
            <a:srgbClr val="FBAE40"/>
          </p15:clr>
        </p15:guide>
        <p15:guide id="3" pos="3901">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15938" y="1071155"/>
            <a:ext cx="5185914"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515938" y="1785258"/>
            <a:ext cx="5185914"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098207" y="1071155"/>
            <a:ext cx="5581031" cy="714103"/>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098207" y="1785258"/>
            <a:ext cx="5581031" cy="42970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10" name="Title 9"/>
          <p:cNvSpPr>
            <a:spLocks noGrp="1"/>
          </p:cNvSpPr>
          <p:nvPr>
            <p:ph type="title"/>
          </p:nvPr>
        </p:nvSpPr>
        <p:spPr/>
        <p:txBody>
          <a:bodyPr/>
          <a:lstStyle/>
          <a:p>
            <a:r>
              <a:rPr lang="en-US"/>
              <a:t>Click to edit Master title style</a:t>
            </a:r>
            <a:endParaRPr lang="en-IE"/>
          </a:p>
        </p:txBody>
      </p:sp>
      <p:sp>
        <p:nvSpPr>
          <p:cNvPr id="2" name="Date Placeholder 1"/>
          <p:cNvSpPr>
            <a:spLocks noGrp="1"/>
          </p:cNvSpPr>
          <p:nvPr>
            <p:ph type="dt" sz="half" idx="10"/>
          </p:nvPr>
        </p:nvSpPr>
        <p:spPr/>
        <p:txBody>
          <a:bodyPr/>
          <a:lstStyle/>
          <a:p>
            <a:fld id="{380F0368-ED71-4380-8A0A-C8EC1E4B6E2D}" type="datetimeFigureOut">
              <a:rPr lang="en-IE" smtClean="0"/>
              <a:pPr/>
              <a:t>01/03/2024</a:t>
            </a:fld>
            <a:endParaRPr lang="en-IE"/>
          </a:p>
        </p:txBody>
      </p:sp>
      <p:sp>
        <p:nvSpPr>
          <p:cNvPr id="11" name="Footer Placeholder 10"/>
          <p:cNvSpPr>
            <a:spLocks noGrp="1"/>
          </p:cNvSpPr>
          <p:nvPr>
            <p:ph type="ftr" sz="quarter" idx="11"/>
          </p:nvPr>
        </p:nvSpPr>
        <p:spPr/>
        <p:txBody>
          <a:bodyPr/>
          <a:lstStyle/>
          <a:p>
            <a:endParaRPr lang="en-IE"/>
          </a:p>
        </p:txBody>
      </p:sp>
      <p:sp>
        <p:nvSpPr>
          <p:cNvPr id="12" name="Slide Number Placeholder 11"/>
          <p:cNvSpPr>
            <a:spLocks noGrp="1"/>
          </p:cNvSpPr>
          <p:nvPr>
            <p:ph type="sldNum" sz="quarter" idx="12"/>
          </p:nvPr>
        </p:nvSpPr>
        <p:spPr/>
        <p:txBody>
          <a:bodyPr/>
          <a:lstStyle/>
          <a:p>
            <a:pPr algn="l"/>
            <a:fld id="{4A13BAFD-C6E1-49C5-8C3D-26FF884B8F3D}" type="slidenum">
              <a:rPr lang="en-IE" smtClean="0"/>
              <a:pPr algn="l"/>
              <a:t>‹#›</a:t>
            </a:fld>
            <a:endParaRPr lang="en-IE"/>
          </a:p>
        </p:txBody>
      </p:sp>
    </p:spTree>
    <p:extLst>
      <p:ext uri="{BB962C8B-B14F-4D97-AF65-F5344CB8AC3E}">
        <p14:creationId xmlns:p14="http://schemas.microsoft.com/office/powerpoint/2010/main" val="38772323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Date Placeholder 2"/>
          <p:cNvSpPr>
            <a:spLocks noGrp="1"/>
          </p:cNvSpPr>
          <p:nvPr>
            <p:ph type="dt" sz="half" idx="10"/>
          </p:nvPr>
        </p:nvSpPr>
        <p:spPr/>
        <p:txBody>
          <a:bodyPr/>
          <a:lstStyle/>
          <a:p>
            <a:fld id="{380F0368-ED71-4380-8A0A-C8EC1E4B6E2D}" type="datetimeFigureOut">
              <a:rPr lang="en-IE" smtClean="0"/>
              <a:t>01/03/2024</a:t>
            </a:fld>
            <a:endParaRPr lang="en-IE"/>
          </a:p>
        </p:txBody>
      </p:sp>
      <p:sp>
        <p:nvSpPr>
          <p:cNvPr id="4" name="Footer Placeholder 3"/>
          <p:cNvSpPr>
            <a:spLocks noGrp="1"/>
          </p:cNvSpPr>
          <p:nvPr>
            <p:ph type="ftr" sz="quarter" idx="11"/>
          </p:nvPr>
        </p:nvSpPr>
        <p:spPr/>
        <p:txBody>
          <a:bodyPr/>
          <a:lstStyle/>
          <a:p>
            <a:endParaRPr lang="en-IE"/>
          </a:p>
        </p:txBody>
      </p:sp>
      <p:sp>
        <p:nvSpPr>
          <p:cNvPr id="5" name="Slide Number Placeholder 4"/>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127183660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0F0368-ED71-4380-8A0A-C8EC1E4B6E2D}" type="datetimeFigureOut">
              <a:rPr lang="en-IE" smtClean="0"/>
              <a:t>01/03/2024</a:t>
            </a:fld>
            <a:endParaRPr lang="en-IE"/>
          </a:p>
        </p:txBody>
      </p:sp>
      <p:sp>
        <p:nvSpPr>
          <p:cNvPr id="3" name="Footer Placeholder 2"/>
          <p:cNvSpPr>
            <a:spLocks noGrp="1"/>
          </p:cNvSpPr>
          <p:nvPr>
            <p:ph type="ftr" sz="quarter" idx="11"/>
          </p:nvPr>
        </p:nvSpPr>
        <p:spPr/>
        <p:txBody>
          <a:bodyPr/>
          <a:lstStyle/>
          <a:p>
            <a:endParaRPr lang="en-IE"/>
          </a:p>
        </p:txBody>
      </p:sp>
      <p:sp>
        <p:nvSpPr>
          <p:cNvPr id="4" name="Slide Number Placeholder 3"/>
          <p:cNvSpPr>
            <a:spLocks noGrp="1"/>
          </p:cNvSpPr>
          <p:nvPr>
            <p:ph type="sldNum" sz="quarter" idx="12"/>
          </p:nvPr>
        </p:nvSpPr>
        <p:spPr/>
        <p:txBody>
          <a:bodyPr/>
          <a:lstStyle/>
          <a:p>
            <a:fld id="{4A13BAFD-C6E1-49C5-8C3D-26FF884B8F3D}" type="slidenum">
              <a:rPr lang="en-IE" smtClean="0"/>
              <a:t>‹#›</a:t>
            </a:fld>
            <a:endParaRPr lang="en-IE"/>
          </a:p>
        </p:txBody>
      </p:sp>
    </p:spTree>
    <p:extLst>
      <p:ext uri="{BB962C8B-B14F-4D97-AF65-F5344CB8AC3E}">
        <p14:creationId xmlns:p14="http://schemas.microsoft.com/office/powerpoint/2010/main" val="367542191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eaLnBrk="1" hangingPunct="1">
              <a:spcBef>
                <a:spcPct val="20000"/>
              </a:spcBef>
              <a:defRPr b="1"/>
            </a:lvl1pPr>
          </a:lstStyle>
          <a:p>
            <a:pPr>
              <a:defRPr/>
            </a:pPr>
            <a:endParaRPr lang="en-IE"/>
          </a:p>
        </p:txBody>
      </p:sp>
    </p:spTree>
    <p:extLst>
      <p:ext uri="{BB962C8B-B14F-4D97-AF65-F5344CB8AC3E}">
        <p14:creationId xmlns:p14="http://schemas.microsoft.com/office/powerpoint/2010/main" val="17095977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5517972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sz="quarter"/>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56672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654379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6648038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22"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9154903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9659928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2021128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22"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2165244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5104067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17"/>
          <p:cNvSpPr>
            <a:spLocks noGrp="1" noChangeArrowheads="1"/>
          </p:cNvSpPr>
          <p:nvPr>
            <p:ph type="title"/>
          </p:nvPr>
        </p:nvSpPr>
        <p:spPr bwMode="auto">
          <a:xfrm>
            <a:off x="2500800" y="2503489"/>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lvl="0"/>
            <a:r>
              <a:rPr lang="en-US"/>
              <a:t>Click to edit Master title style</a:t>
            </a:r>
          </a:p>
        </p:txBody>
      </p:sp>
      <p:sp>
        <p:nvSpPr>
          <p:cNvPr id="5" name="Rectangle 18"/>
          <p:cNvSpPr>
            <a:spLocks noGrp="1" noChangeArrowheads="1"/>
          </p:cNvSpPr>
          <p:nvPr>
            <p:ph idx="1"/>
          </p:nvPr>
        </p:nvSpPr>
        <p:spPr bwMode="auto">
          <a:xfrm>
            <a:off x="2500800" y="3133726"/>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lvl="0"/>
            <a:r>
              <a:rPr lang="en-US" noProof="0"/>
              <a:t>Click to edit Master text styles</a:t>
            </a:r>
          </a:p>
        </p:txBody>
      </p:sp>
    </p:spTree>
    <p:extLst>
      <p:ext uri="{BB962C8B-B14F-4D97-AF65-F5344CB8AC3E}">
        <p14:creationId xmlns:p14="http://schemas.microsoft.com/office/powerpoint/2010/main" val="30154082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clip art</a:t>
            </a:r>
            <a:endParaRPr lang="en-IE" noProof="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9276142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8" y="549277"/>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10"/>
          <p:cNvSpPr>
            <a:spLocks noGrp="1" noChangeArrowheads="1"/>
          </p:cNvSpPr>
          <p:nvPr>
            <p:ph type="ctrTitle"/>
          </p:nvPr>
        </p:nvSpPr>
        <p:spPr>
          <a:xfrm>
            <a:off x="2499787" y="2500320"/>
            <a:ext cx="8801100" cy="619125"/>
          </a:xfrm>
        </p:spPr>
        <p:txBody>
          <a:bodyPr anchor="b"/>
          <a:lstStyle>
            <a:lvl1pPr>
              <a:defRPr smtClean="0"/>
            </a:lvl1pPr>
          </a:lstStyle>
          <a:p>
            <a:pPr lvl="0"/>
            <a:r>
              <a:rPr lang="en-US" altLang="en-US" noProof="0"/>
              <a:t>Click to edit Master title style</a:t>
            </a:r>
          </a:p>
        </p:txBody>
      </p:sp>
      <p:sp>
        <p:nvSpPr>
          <p:cNvPr id="19460" name="Rectangle 9"/>
          <p:cNvSpPr>
            <a:spLocks noGrp="1" noChangeArrowheads="1"/>
          </p:cNvSpPr>
          <p:nvPr>
            <p:ph type="subTitle" idx="1"/>
          </p:nvPr>
        </p:nvSpPr>
        <p:spPr>
          <a:xfrm>
            <a:off x="2499787" y="3133727"/>
            <a:ext cx="8801100" cy="619125"/>
          </a:xfrm>
        </p:spPr>
        <p:txBody>
          <a:bodyPr/>
          <a:lstStyle>
            <a:lvl1pPr>
              <a:defRPr smtClean="0">
                <a:solidFill>
                  <a:schemeClr val="tx1"/>
                </a:solidFill>
              </a:defRPr>
            </a:lvl1pPr>
          </a:lstStyle>
          <a:p>
            <a:pPr lvl="0"/>
            <a:r>
              <a:rPr lang="en-US" altLang="en-US" noProof="0"/>
              <a:t>Click to edit Master subtitle style</a:t>
            </a:r>
          </a:p>
        </p:txBody>
      </p:sp>
      <p:sp>
        <p:nvSpPr>
          <p:cNvPr id="6" name="Date Placeholder 5"/>
          <p:cNvSpPr>
            <a:spLocks noGrp="1" noChangeArrowheads="1"/>
          </p:cNvSpPr>
          <p:nvPr>
            <p:ph type="dt" sz="quarter" idx="10"/>
          </p:nvPr>
        </p:nvSpPr>
        <p:spPr bwMode="auto">
          <a:xfrm>
            <a:off x="2499785"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lvl1pPr eaLnBrk="1" hangingPunct="1">
              <a:defRPr sz="731" smtClean="0"/>
            </a:lvl1pPr>
          </a:lstStyle>
          <a:p>
            <a:pPr fontAlgn="auto">
              <a:spcBef>
                <a:spcPts val="0"/>
              </a:spcBef>
              <a:spcAft>
                <a:spcPts val="0"/>
              </a:spcAft>
            </a:pPr>
            <a:fld id="{B30D23E3-F805-496D-9668-92CD38E41D55}" type="datetimeFigureOut">
              <a:rPr lang="en-IE" smtClean="0">
                <a:solidFill>
                  <a:srgbClr val="336699"/>
                </a:solidFill>
                <a:latin typeface="Arial"/>
                <a:cs typeface="Arial"/>
              </a:rPr>
              <a:pPr fontAlgn="auto">
                <a:spcBef>
                  <a:spcPts val="0"/>
                </a:spcBef>
                <a:spcAft>
                  <a:spcPts val="0"/>
                </a:spcAft>
              </a:pPr>
              <a:t>01/03/2024</a:t>
            </a:fld>
            <a:endParaRPr lang="en-IE">
              <a:solidFill>
                <a:srgbClr val="336699"/>
              </a:solidFill>
              <a:latin typeface="Arial"/>
              <a:cs typeface="Arial"/>
            </a:endParaRPr>
          </a:p>
        </p:txBody>
      </p:sp>
    </p:spTree>
    <p:extLst>
      <p:ext uri="{BB962C8B-B14F-4D97-AF65-F5344CB8AC3E}">
        <p14:creationId xmlns:p14="http://schemas.microsoft.com/office/powerpoint/2010/main" val="36561803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3880275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54756" y="1294878"/>
            <a:ext cx="10869789" cy="2852737"/>
          </a:xfrm>
        </p:spPr>
        <p:txBody>
          <a:bodyPr anchor="b"/>
          <a:lstStyle>
            <a:lvl1pPr>
              <a:defRPr sz="3375"/>
            </a:lvl1pPr>
          </a:lstStyle>
          <a:p>
            <a:r>
              <a:rPr lang="en-US"/>
              <a:t>Click to edit Master title style</a:t>
            </a:r>
            <a:endParaRPr lang="en-IE"/>
          </a:p>
        </p:txBody>
      </p:sp>
      <p:sp>
        <p:nvSpPr>
          <p:cNvPr id="3" name="Text Placeholder 2"/>
          <p:cNvSpPr>
            <a:spLocks noGrp="1"/>
          </p:cNvSpPr>
          <p:nvPr>
            <p:ph type="body" idx="1"/>
          </p:nvPr>
        </p:nvSpPr>
        <p:spPr>
          <a:xfrm>
            <a:off x="654756" y="4174603"/>
            <a:ext cx="10869789" cy="1500187"/>
          </a:xfrm>
        </p:spPr>
        <p:txBody>
          <a:bodyPr/>
          <a:lstStyle>
            <a:lvl1pPr marL="0" indent="0">
              <a:buNone/>
              <a:defRPr sz="1350"/>
            </a:lvl1pPr>
            <a:lvl2pPr marL="257175" indent="0">
              <a:buNone/>
              <a:defRPr sz="1125"/>
            </a:lvl2pPr>
            <a:lvl3pPr marL="514350" indent="0">
              <a:buNone/>
              <a:defRPr sz="1013"/>
            </a:lvl3pPr>
            <a:lvl4pPr marL="771525" indent="0">
              <a:buNone/>
              <a:defRPr sz="900"/>
            </a:lvl4pPr>
            <a:lvl5pPr marL="1028700" indent="0">
              <a:buNone/>
              <a:defRPr sz="900"/>
            </a:lvl5pPr>
            <a:lvl6pPr marL="1285875" indent="0">
              <a:buNone/>
              <a:defRPr sz="900"/>
            </a:lvl6pPr>
            <a:lvl7pPr marL="1543050" indent="0">
              <a:buNone/>
              <a:defRPr sz="900"/>
            </a:lvl7pPr>
            <a:lvl8pPr marL="1800225" indent="0">
              <a:buNone/>
              <a:defRPr sz="900"/>
            </a:lvl8pPr>
            <a:lvl9pPr marL="2057400" indent="0">
              <a:buNone/>
              <a:defRPr sz="9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492822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22"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0"/>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6243310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38" y="211673"/>
            <a:ext cx="8861777" cy="770467"/>
          </a:xfrm>
        </p:spPr>
        <p:txBody>
          <a:bodyPr anchor="ctr"/>
          <a:lstStyle/>
          <a:p>
            <a:r>
              <a:rPr lang="en-US"/>
              <a:t>Click to edit Master title style</a:t>
            </a:r>
            <a:endParaRPr lang="en-IE"/>
          </a:p>
        </p:txBody>
      </p:sp>
      <p:sp>
        <p:nvSpPr>
          <p:cNvPr id="3" name="Text Placeholder 2"/>
          <p:cNvSpPr>
            <a:spLocks noGrp="1"/>
          </p:cNvSpPr>
          <p:nvPr>
            <p:ph type="body" idx="1"/>
          </p:nvPr>
        </p:nvSpPr>
        <p:spPr>
          <a:xfrm>
            <a:off x="662522" y="1111250"/>
            <a:ext cx="5312833"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662522" y="1935163"/>
            <a:ext cx="5312833"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1250"/>
            <a:ext cx="5314949" cy="82391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6178551" y="1935163"/>
            <a:ext cx="5314949"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4858365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1187501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0980461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60400" y="398470"/>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2"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22"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3535007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2"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22"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3894019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575383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2"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7054134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22"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1901545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428823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638008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22"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6398873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22"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277989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0"/>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clip art</a:t>
            </a:r>
            <a:endParaRPr lang="en-IE" noProof="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0084198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7" y="549276"/>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10"/>
          <p:cNvSpPr>
            <a:spLocks noGrp="1" noChangeArrowheads="1"/>
          </p:cNvSpPr>
          <p:nvPr>
            <p:ph type="ctrTitle"/>
          </p:nvPr>
        </p:nvSpPr>
        <p:spPr>
          <a:xfrm>
            <a:off x="2499785" y="2500314"/>
            <a:ext cx="8801100" cy="619125"/>
          </a:xfrm>
        </p:spPr>
        <p:txBody>
          <a:bodyPr anchor="b"/>
          <a:lstStyle>
            <a:lvl1pPr>
              <a:defRPr smtClean="0"/>
            </a:lvl1pPr>
          </a:lstStyle>
          <a:p>
            <a:pPr lvl="0"/>
            <a:r>
              <a:rPr lang="en-US" altLang="en-US" noProof="0"/>
              <a:t>Click to edit Master title style</a:t>
            </a:r>
          </a:p>
        </p:txBody>
      </p:sp>
      <p:sp>
        <p:nvSpPr>
          <p:cNvPr id="19460" name="Rectangle 9"/>
          <p:cNvSpPr>
            <a:spLocks noGrp="1" noChangeArrowheads="1"/>
          </p:cNvSpPr>
          <p:nvPr>
            <p:ph type="subTitle" idx="1"/>
          </p:nvPr>
        </p:nvSpPr>
        <p:spPr>
          <a:xfrm>
            <a:off x="2499785" y="3133726"/>
            <a:ext cx="8801100" cy="619125"/>
          </a:xfrm>
        </p:spPr>
        <p:txBody>
          <a:bodyPr/>
          <a:lstStyle>
            <a:lvl1pPr>
              <a:defRPr smtClean="0">
                <a:solidFill>
                  <a:schemeClr val="tx1"/>
                </a:solidFill>
              </a:defRPr>
            </a:lvl1pPr>
          </a:lstStyle>
          <a:p>
            <a:pPr lvl="0"/>
            <a:r>
              <a:rPr lang="en-US" altLang="en-US" noProof="0"/>
              <a:t>Click to edit Master subtitle style</a:t>
            </a:r>
          </a:p>
        </p:txBody>
      </p:sp>
      <p:sp>
        <p:nvSpPr>
          <p:cNvPr id="6" name="Date Placeholder 5"/>
          <p:cNvSpPr>
            <a:spLocks noGrp="1" noChangeArrowheads="1"/>
          </p:cNvSpPr>
          <p:nvPr>
            <p:ph type="dt" sz="quarter" idx="10"/>
          </p:nvPr>
        </p:nvSpPr>
        <p:spPr bwMode="auto">
          <a:xfrm>
            <a:off x="2499784"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lvl1pPr eaLnBrk="1" hangingPunct="1">
              <a:defRPr sz="1300" smtClean="0"/>
            </a:lvl1pPr>
          </a:lstStyle>
          <a:p>
            <a:pPr fontAlgn="auto">
              <a:spcBef>
                <a:spcPts val="0"/>
              </a:spcBef>
              <a:spcAft>
                <a:spcPts val="0"/>
              </a:spcAft>
            </a:pPr>
            <a:fld id="{24B7CC13-F16C-4EF4-A21A-3F3403BACCE0}" type="datetimeFigureOut">
              <a:rPr lang="en-IE" smtClean="0">
                <a:solidFill>
                  <a:srgbClr val="336699"/>
                </a:solidFill>
                <a:latin typeface="Arial"/>
                <a:cs typeface="Arial"/>
              </a:rPr>
              <a:pPr fontAlgn="auto">
                <a:spcBef>
                  <a:spcPts val="0"/>
                </a:spcBef>
                <a:spcAft>
                  <a:spcPts val="0"/>
                </a:spcAft>
              </a:pPr>
              <a:t>01/03/2024</a:t>
            </a:fld>
            <a:endParaRPr lang="en-IE">
              <a:solidFill>
                <a:srgbClr val="336699"/>
              </a:solidFill>
              <a:latin typeface="Arial"/>
              <a:cs typeface="Arial"/>
            </a:endParaRPr>
          </a:p>
        </p:txBody>
      </p:sp>
    </p:spTree>
    <p:extLst>
      <p:ext uri="{BB962C8B-B14F-4D97-AF65-F5344CB8AC3E}">
        <p14:creationId xmlns:p14="http://schemas.microsoft.com/office/powerpoint/2010/main" val="19574831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txBox="1">
            <a:spLocks/>
          </p:cNvSpPr>
          <p:nvPr userDrawn="1"/>
        </p:nvSpPr>
        <p:spPr>
          <a:xfrm>
            <a:off x="10512491" y="6663291"/>
            <a:ext cx="1584325" cy="196850"/>
          </a:xfrm>
          <a:prstGeom prst="rect">
            <a:avLst/>
          </a:prstGeom>
        </p:spPr>
        <p:txBody>
          <a:bodyPr vert="horz" wrap="square" lIns="91440" tIns="45720" rIns="91440" bIns="45720" numCol="1" anchor="ctr" anchorCtr="0" compatLnSpc="1">
            <a:prstTxWarp prst="textNoShape">
              <a:avLst/>
            </a:prstTxWarp>
          </a:bodyPr>
          <a:lstStyle>
            <a:defPPr>
              <a:defRPr lang="en-US"/>
            </a:defPPr>
            <a:lvl1pPr marL="0" algn="l" defTabSz="914400" rtl="0" eaLnBrk="1" latinLnBrk="0" hangingPunct="1">
              <a:lnSpc>
                <a:spcPct val="90000"/>
              </a:lnSpc>
              <a:spcAft>
                <a:spcPct val="50000"/>
              </a:spcAft>
              <a:buClr>
                <a:schemeClr val="bg1"/>
              </a:buClr>
              <a:buSzPct val="25000"/>
              <a:buFont typeface="Wingdings" pitchFamily="2" charset="2"/>
              <a:buNone/>
              <a:defRPr sz="600" i="1" kern="1200" smtClean="0">
                <a:solidFill>
                  <a:schemeClr val="accent1">
                    <a:lumMod val="20000"/>
                    <a:lumOff val="8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buClr>
                <a:srgbClr val="A59D95"/>
              </a:buClr>
            </a:pPr>
            <a:r>
              <a:rPr lang="en-GB" sz="600">
                <a:solidFill>
                  <a:srgbClr val="003C71">
                    <a:lumMod val="20000"/>
                    <a:lumOff val="80000"/>
                  </a:srgbClr>
                </a:solidFill>
              </a:rPr>
              <a:t>Template Version 1.1</a:t>
            </a:r>
            <a:endParaRPr lang="en-IE" sz="600">
              <a:solidFill>
                <a:srgbClr val="003C71">
                  <a:lumMod val="20000"/>
                  <a:lumOff val="80000"/>
                </a:srgbClr>
              </a:solidFill>
            </a:endParaRPr>
          </a:p>
        </p:txBody>
      </p:sp>
    </p:spTree>
    <p:extLst>
      <p:ext uri="{BB962C8B-B14F-4D97-AF65-F5344CB8AC3E}">
        <p14:creationId xmlns:p14="http://schemas.microsoft.com/office/powerpoint/2010/main" val="224025514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54756" y="1294872"/>
            <a:ext cx="10869789" cy="2852737"/>
          </a:xfrm>
        </p:spPr>
        <p:txBody>
          <a:bodyPr anchor="b"/>
          <a:lstStyle>
            <a:lvl1pPr>
              <a:defRPr sz="6000"/>
            </a:lvl1pPr>
          </a:lstStyle>
          <a:p>
            <a:r>
              <a:rPr lang="en-US"/>
              <a:t>Click to edit Master title style</a:t>
            </a:r>
            <a:endParaRPr lang="en-IE"/>
          </a:p>
        </p:txBody>
      </p:sp>
      <p:sp>
        <p:nvSpPr>
          <p:cNvPr id="3" name="Text Placeholder 2"/>
          <p:cNvSpPr>
            <a:spLocks noGrp="1"/>
          </p:cNvSpPr>
          <p:nvPr>
            <p:ph type="body" idx="1"/>
          </p:nvPr>
        </p:nvSpPr>
        <p:spPr>
          <a:xfrm>
            <a:off x="654756" y="4174597"/>
            <a:ext cx="10869789"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225095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8" descr="ESB_Powerpoint_design_background2 150dpi no log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ESB_brandmark_strapline_adobe_rgb.jpg"/>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836151" y="487364"/>
            <a:ext cx="16594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7"/>
          <p:cNvSpPr>
            <a:spLocks noGrp="1" noChangeArrowheads="1"/>
          </p:cNvSpPr>
          <p:nvPr>
            <p:ph type="title"/>
          </p:nvPr>
        </p:nvSpPr>
        <p:spPr bwMode="auto">
          <a:xfrm>
            <a:off x="2500800" y="2503489"/>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59454" rIns="118909" bIns="59454" numCol="1" anchor="b" anchorCtr="0" compatLnSpc="1">
            <a:prstTxWarp prst="textNoShape">
              <a:avLst/>
            </a:prstTxWarp>
          </a:bodyPr>
          <a:lstStyle>
            <a:lvl1pPr>
              <a:defRPr sz="3200"/>
            </a:lvl1pPr>
          </a:lstStyle>
          <a:p>
            <a:pPr lvl="0"/>
            <a:r>
              <a:rPr lang="en-US"/>
              <a:t>Click to edit Master title style</a:t>
            </a:r>
          </a:p>
        </p:txBody>
      </p:sp>
      <p:sp>
        <p:nvSpPr>
          <p:cNvPr id="8" name="Rectangle 18"/>
          <p:cNvSpPr>
            <a:spLocks noGrp="1" noChangeArrowheads="1"/>
          </p:cNvSpPr>
          <p:nvPr>
            <p:ph idx="1"/>
          </p:nvPr>
        </p:nvSpPr>
        <p:spPr bwMode="auto">
          <a:xfrm>
            <a:off x="2500800" y="3133726"/>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44489" rIns="88977" bIns="44489" numCol="1" anchor="t" anchorCtr="0" compatLnSpc="1">
            <a:prstTxWarp prst="textNoShape">
              <a:avLst/>
            </a:prstTxWarp>
          </a:bodyPr>
          <a:lstStyle>
            <a:lvl1pPr>
              <a:defRPr>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29201043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18"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0"/>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36899381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34" y="211668"/>
            <a:ext cx="8861777" cy="770467"/>
          </a:xfrm>
        </p:spPr>
        <p:txBody>
          <a:bodyPr anchor="ctr"/>
          <a:lstStyle/>
          <a:p>
            <a:r>
              <a:rPr lang="en-US"/>
              <a:t>Click to edit Master title style</a:t>
            </a:r>
            <a:endParaRPr lang="en-IE"/>
          </a:p>
        </p:txBody>
      </p:sp>
      <p:sp>
        <p:nvSpPr>
          <p:cNvPr id="3" name="Text Placeholder 2"/>
          <p:cNvSpPr>
            <a:spLocks noGrp="1"/>
          </p:cNvSpPr>
          <p:nvPr>
            <p:ph type="body" idx="1"/>
          </p:nvPr>
        </p:nvSpPr>
        <p:spPr>
          <a:xfrm>
            <a:off x="662518" y="1111250"/>
            <a:ext cx="531283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62518" y="1935163"/>
            <a:ext cx="5312833"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1250"/>
            <a:ext cx="5314949"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8551" y="1935163"/>
            <a:ext cx="5314949"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28461570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125696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239079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18"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987496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18"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92011" y="1628800"/>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275600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18"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18"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4061118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18"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2981566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18"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29910117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17431311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8" y="549277"/>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10"/>
          <p:cNvSpPr>
            <a:spLocks noGrp="1" noChangeArrowheads="1"/>
          </p:cNvSpPr>
          <p:nvPr>
            <p:ph type="ctrTitle"/>
          </p:nvPr>
        </p:nvSpPr>
        <p:spPr>
          <a:xfrm>
            <a:off x="2499791" y="2500368"/>
            <a:ext cx="8801100" cy="619125"/>
          </a:xfrm>
        </p:spPr>
        <p:txBody>
          <a:bodyPr anchor="b"/>
          <a:lstStyle>
            <a:lvl1pPr>
              <a:defRPr smtClean="0"/>
            </a:lvl1pPr>
          </a:lstStyle>
          <a:p>
            <a:pPr lvl="0"/>
            <a:r>
              <a:rPr lang="en-US" altLang="en-US" noProof="0"/>
              <a:t>Click to edit Master title style</a:t>
            </a:r>
          </a:p>
        </p:txBody>
      </p:sp>
      <p:sp>
        <p:nvSpPr>
          <p:cNvPr id="19460" name="Rectangle 9"/>
          <p:cNvSpPr>
            <a:spLocks noGrp="1" noChangeArrowheads="1"/>
          </p:cNvSpPr>
          <p:nvPr>
            <p:ph type="subTitle" idx="1"/>
          </p:nvPr>
        </p:nvSpPr>
        <p:spPr>
          <a:xfrm>
            <a:off x="2499791" y="3133737"/>
            <a:ext cx="8801100" cy="619125"/>
          </a:xfrm>
        </p:spPr>
        <p:txBody>
          <a:bodyPr/>
          <a:lstStyle>
            <a:lvl1pPr>
              <a:defRPr smtClean="0">
                <a:solidFill>
                  <a:schemeClr val="tx1"/>
                </a:solidFill>
              </a:defRPr>
            </a:lvl1pPr>
          </a:lstStyle>
          <a:p>
            <a:pPr lvl="0"/>
            <a:r>
              <a:rPr lang="en-US" altLang="en-US" noProof="0"/>
              <a:t>Click to edit Master subtitle style</a:t>
            </a:r>
          </a:p>
        </p:txBody>
      </p:sp>
      <p:sp>
        <p:nvSpPr>
          <p:cNvPr id="6" name="Date Placeholder 5"/>
          <p:cNvSpPr>
            <a:spLocks noGrp="1" noChangeArrowheads="1"/>
          </p:cNvSpPr>
          <p:nvPr>
            <p:ph type="dt" sz="quarter" idx="10"/>
          </p:nvPr>
        </p:nvSpPr>
        <p:spPr bwMode="auto">
          <a:xfrm>
            <a:off x="2499785"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0" rIns="91396" bIns="45700" numCol="1" anchor="ctr" anchorCtr="0" compatLnSpc="1">
            <a:prstTxWarp prst="textNoShape">
              <a:avLst/>
            </a:prstTxWarp>
          </a:bodyPr>
          <a:lstStyle>
            <a:lvl1pPr eaLnBrk="1" hangingPunct="1">
              <a:defRPr sz="975" smtClean="0"/>
            </a:lvl1pPr>
          </a:lstStyle>
          <a:p>
            <a:pPr defTabSz="685470" fontAlgn="auto">
              <a:spcBef>
                <a:spcPts val="0"/>
              </a:spcBef>
              <a:spcAft>
                <a:spcPts val="0"/>
              </a:spcAft>
            </a:pPr>
            <a:fld id="{24B7CC13-F16C-4EF4-A21A-3F3403BACCE0}" type="datetimeFigureOut">
              <a:rPr lang="en-IE" smtClean="0">
                <a:solidFill>
                  <a:srgbClr val="336699"/>
                </a:solidFill>
                <a:latin typeface="Arial"/>
                <a:cs typeface="Arial"/>
              </a:rPr>
              <a:pPr defTabSz="685470" fontAlgn="auto">
                <a:spcBef>
                  <a:spcPts val="0"/>
                </a:spcBef>
                <a:spcAft>
                  <a:spcPts val="0"/>
                </a:spcAft>
              </a:pPr>
              <a:t>01/03/2024</a:t>
            </a:fld>
            <a:endParaRPr lang="en-IE">
              <a:solidFill>
                <a:srgbClr val="336699"/>
              </a:solidFill>
              <a:latin typeface="Arial"/>
              <a:cs typeface="Arial"/>
            </a:endParaRPr>
          </a:p>
        </p:txBody>
      </p:sp>
    </p:spTree>
    <p:extLst>
      <p:ext uri="{BB962C8B-B14F-4D97-AF65-F5344CB8AC3E}">
        <p14:creationId xmlns:p14="http://schemas.microsoft.com/office/powerpoint/2010/main" val="6277479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18"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2394722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8546319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clip art</a:t>
            </a:r>
            <a:endParaRPr lang="en-IE" noProof="0"/>
          </a:p>
        </p:txBody>
      </p:sp>
      <p:sp>
        <p:nvSpPr>
          <p:cNvPr id="5" name="Footer Placeholder 50"/>
          <p:cNvSpPr>
            <a:spLocks noGrp="1"/>
          </p:cNvSpPr>
          <p:nvPr>
            <p:ph type="ftr" sz="quarter" idx="10"/>
          </p:nvPr>
        </p:nvSpPr>
        <p:spPr>
          <a:xfrm>
            <a:off x="10512426" y="6653213"/>
            <a:ext cx="1584325" cy="196850"/>
          </a:xfrm>
          <a:prstGeom prst="rect">
            <a:avLst/>
          </a:prstGeom>
        </p:spPr>
        <p:txBody>
          <a:bodyPr/>
          <a:lstStyle>
            <a:lvl1pPr>
              <a:defRPr/>
            </a:lvl1pPr>
          </a:lstStyle>
          <a:p>
            <a:pPr>
              <a:buClr>
                <a:srgbClr val="A59D95"/>
              </a:buClr>
            </a:pPr>
            <a:endParaRPr lang="en-IE">
              <a:solidFill>
                <a:srgbClr val="003C71">
                  <a:lumMod val="20000"/>
                  <a:lumOff val="80000"/>
                </a:srgbClr>
              </a:solidFill>
            </a:endParaRPr>
          </a:p>
        </p:txBody>
      </p:sp>
    </p:spTree>
    <p:extLst>
      <p:ext uri="{BB962C8B-B14F-4D97-AF65-F5344CB8AC3E}">
        <p14:creationId xmlns:p14="http://schemas.microsoft.com/office/powerpoint/2010/main" val="42834709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8" y="549277"/>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10"/>
          <p:cNvSpPr>
            <a:spLocks noGrp="1" noChangeArrowheads="1"/>
          </p:cNvSpPr>
          <p:nvPr>
            <p:ph type="ctrTitle"/>
          </p:nvPr>
        </p:nvSpPr>
        <p:spPr>
          <a:xfrm>
            <a:off x="2499791" y="2500368"/>
            <a:ext cx="8801100" cy="619125"/>
          </a:xfrm>
        </p:spPr>
        <p:txBody>
          <a:bodyPr anchor="b"/>
          <a:lstStyle>
            <a:lvl1pPr>
              <a:defRPr smtClean="0"/>
            </a:lvl1pPr>
          </a:lstStyle>
          <a:p>
            <a:pPr lvl="0"/>
            <a:r>
              <a:rPr lang="en-US" altLang="en-US" noProof="0"/>
              <a:t>Click to edit Master title style</a:t>
            </a:r>
          </a:p>
        </p:txBody>
      </p:sp>
      <p:sp>
        <p:nvSpPr>
          <p:cNvPr id="19460" name="Rectangle 9"/>
          <p:cNvSpPr>
            <a:spLocks noGrp="1" noChangeArrowheads="1"/>
          </p:cNvSpPr>
          <p:nvPr>
            <p:ph type="subTitle" idx="1"/>
          </p:nvPr>
        </p:nvSpPr>
        <p:spPr>
          <a:xfrm>
            <a:off x="2499791" y="3133737"/>
            <a:ext cx="8801100" cy="619125"/>
          </a:xfrm>
        </p:spPr>
        <p:txBody>
          <a:bodyPr/>
          <a:lstStyle>
            <a:lvl1pPr>
              <a:defRPr smtClean="0">
                <a:solidFill>
                  <a:schemeClr val="tx1"/>
                </a:solidFill>
              </a:defRPr>
            </a:lvl1pPr>
          </a:lstStyle>
          <a:p>
            <a:pPr lvl="0"/>
            <a:r>
              <a:rPr lang="en-US" altLang="en-US" noProof="0"/>
              <a:t>Click to edit Master subtitle style</a:t>
            </a:r>
          </a:p>
        </p:txBody>
      </p:sp>
      <p:sp>
        <p:nvSpPr>
          <p:cNvPr id="6" name="Date Placeholder 5"/>
          <p:cNvSpPr>
            <a:spLocks noGrp="1" noChangeArrowheads="1"/>
          </p:cNvSpPr>
          <p:nvPr>
            <p:ph type="dt" sz="quarter" idx="10"/>
          </p:nvPr>
        </p:nvSpPr>
        <p:spPr bwMode="auto">
          <a:xfrm>
            <a:off x="2499785"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0" rIns="91396" bIns="45700" numCol="1" anchor="ctr" anchorCtr="0" compatLnSpc="1">
            <a:prstTxWarp prst="textNoShape">
              <a:avLst/>
            </a:prstTxWarp>
          </a:bodyPr>
          <a:lstStyle>
            <a:lvl1pPr eaLnBrk="1" hangingPunct="1">
              <a:defRPr sz="975" smtClean="0"/>
            </a:lvl1pPr>
          </a:lstStyle>
          <a:p>
            <a:pPr defTabSz="685470" fontAlgn="auto">
              <a:spcBef>
                <a:spcPts val="0"/>
              </a:spcBef>
              <a:spcAft>
                <a:spcPts val="0"/>
              </a:spcAft>
            </a:pPr>
            <a:fld id="{24B7CC13-F16C-4EF4-A21A-3F3403BACCE0}" type="datetimeFigureOut">
              <a:rPr lang="en-IE" smtClean="0">
                <a:solidFill>
                  <a:srgbClr val="336699"/>
                </a:solidFill>
                <a:latin typeface="Arial"/>
                <a:cs typeface="Arial"/>
              </a:rPr>
              <a:pPr defTabSz="685470" fontAlgn="auto">
                <a:spcBef>
                  <a:spcPts val="0"/>
                </a:spcBef>
                <a:spcAft>
                  <a:spcPts val="0"/>
                </a:spcAft>
              </a:pPr>
              <a:t>01/03/2024</a:t>
            </a:fld>
            <a:endParaRPr lang="en-IE">
              <a:solidFill>
                <a:srgbClr val="336699"/>
              </a:solidFill>
              <a:latin typeface="Arial"/>
              <a:cs typeface="Arial"/>
            </a:endParaRPr>
          </a:p>
        </p:txBody>
      </p:sp>
    </p:spTree>
    <p:extLst>
      <p:ext uri="{BB962C8B-B14F-4D97-AF65-F5344CB8AC3E}">
        <p14:creationId xmlns:p14="http://schemas.microsoft.com/office/powerpoint/2010/main" val="33917474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5463750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54759" y="1294876"/>
            <a:ext cx="10869789" cy="2852737"/>
          </a:xfrm>
        </p:spPr>
        <p:txBody>
          <a:bodyPr anchor="b"/>
          <a:lstStyle>
            <a:lvl1pPr>
              <a:defRPr sz="4500"/>
            </a:lvl1pPr>
          </a:lstStyle>
          <a:p>
            <a:r>
              <a:rPr lang="en-US"/>
              <a:t>Click to edit Master title style</a:t>
            </a:r>
            <a:endParaRPr lang="en-IE"/>
          </a:p>
        </p:txBody>
      </p:sp>
      <p:sp>
        <p:nvSpPr>
          <p:cNvPr id="3" name="Text Placeholder 2"/>
          <p:cNvSpPr>
            <a:spLocks noGrp="1"/>
          </p:cNvSpPr>
          <p:nvPr>
            <p:ph type="body" idx="1"/>
          </p:nvPr>
        </p:nvSpPr>
        <p:spPr>
          <a:xfrm>
            <a:off x="654759" y="4174603"/>
            <a:ext cx="10869789" cy="1500187"/>
          </a:xfrm>
        </p:spPr>
        <p:txBody>
          <a:bodyPr/>
          <a:lstStyle>
            <a:lvl1pPr marL="0" indent="0">
              <a:buNone/>
              <a:defRPr sz="1800"/>
            </a:lvl1pPr>
            <a:lvl2pPr marL="342735" indent="0">
              <a:buNone/>
              <a:defRPr sz="1500"/>
            </a:lvl2pPr>
            <a:lvl3pPr marL="685470" indent="0">
              <a:buNone/>
              <a:defRPr sz="1350"/>
            </a:lvl3pPr>
            <a:lvl4pPr marL="1028205" indent="0">
              <a:buNone/>
              <a:defRPr sz="1200"/>
            </a:lvl4pPr>
            <a:lvl5pPr marL="1370941" indent="0">
              <a:buNone/>
              <a:defRPr sz="1200"/>
            </a:lvl5pPr>
            <a:lvl6pPr marL="1713676" indent="0">
              <a:buNone/>
              <a:defRPr sz="1200"/>
            </a:lvl6pPr>
            <a:lvl7pPr marL="2056413" indent="0">
              <a:buNone/>
              <a:defRPr sz="1200"/>
            </a:lvl7pPr>
            <a:lvl8pPr marL="2399148" indent="0">
              <a:buNone/>
              <a:defRPr sz="1200"/>
            </a:lvl8pPr>
            <a:lvl9pPr marL="2741883" indent="0">
              <a:buNone/>
              <a:defRPr sz="12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6414299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25" y="1111251"/>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1"/>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14777761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41" y="211672"/>
            <a:ext cx="8861777" cy="770467"/>
          </a:xfrm>
        </p:spPr>
        <p:txBody>
          <a:bodyPr anchor="ctr"/>
          <a:lstStyle/>
          <a:p>
            <a:r>
              <a:rPr lang="en-US"/>
              <a:t>Click to edit Master title style</a:t>
            </a:r>
            <a:endParaRPr lang="en-IE"/>
          </a:p>
        </p:txBody>
      </p:sp>
      <p:sp>
        <p:nvSpPr>
          <p:cNvPr id="3" name="Text Placeholder 2"/>
          <p:cNvSpPr>
            <a:spLocks noGrp="1"/>
          </p:cNvSpPr>
          <p:nvPr>
            <p:ph type="body" idx="1"/>
          </p:nvPr>
        </p:nvSpPr>
        <p:spPr>
          <a:xfrm>
            <a:off x="662525" y="1111250"/>
            <a:ext cx="5312833"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4" name="Content Placeholder 3"/>
          <p:cNvSpPr>
            <a:spLocks noGrp="1"/>
          </p:cNvSpPr>
          <p:nvPr>
            <p:ph sz="half" idx="2"/>
          </p:nvPr>
        </p:nvSpPr>
        <p:spPr>
          <a:xfrm>
            <a:off x="662525" y="1935164"/>
            <a:ext cx="5312833"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1250"/>
            <a:ext cx="5314949"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8551" y="1935164"/>
            <a:ext cx="5314949"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9825960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5313903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8021734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170251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sz="quarter"/>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28572732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3785582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2881705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22"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083002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4157223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7938485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22"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68880579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3484164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clip art</a:t>
            </a:r>
            <a:endParaRPr lang="en-IE" noProof="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9321170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8" y="549277"/>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Rectangle 10"/>
          <p:cNvSpPr>
            <a:spLocks noGrp="1" noChangeArrowheads="1"/>
          </p:cNvSpPr>
          <p:nvPr>
            <p:ph type="ctrTitle"/>
          </p:nvPr>
        </p:nvSpPr>
        <p:spPr>
          <a:xfrm>
            <a:off x="2499791" y="2500368"/>
            <a:ext cx="8801100" cy="619125"/>
          </a:xfrm>
        </p:spPr>
        <p:txBody>
          <a:bodyPr anchor="b"/>
          <a:lstStyle>
            <a:lvl1pPr>
              <a:defRPr smtClean="0"/>
            </a:lvl1pPr>
          </a:lstStyle>
          <a:p>
            <a:pPr lvl="0"/>
            <a:r>
              <a:rPr lang="en-US" altLang="en-US" noProof="0"/>
              <a:t>Click to edit Master title style</a:t>
            </a:r>
          </a:p>
        </p:txBody>
      </p:sp>
      <p:sp>
        <p:nvSpPr>
          <p:cNvPr id="19460" name="Rectangle 9"/>
          <p:cNvSpPr>
            <a:spLocks noGrp="1" noChangeArrowheads="1"/>
          </p:cNvSpPr>
          <p:nvPr>
            <p:ph type="subTitle" idx="1"/>
          </p:nvPr>
        </p:nvSpPr>
        <p:spPr>
          <a:xfrm>
            <a:off x="2499791" y="3133737"/>
            <a:ext cx="8801100" cy="619125"/>
          </a:xfrm>
        </p:spPr>
        <p:txBody>
          <a:bodyPr/>
          <a:lstStyle>
            <a:lvl1pPr>
              <a:defRPr smtClean="0">
                <a:solidFill>
                  <a:schemeClr val="tx1"/>
                </a:solidFill>
              </a:defRPr>
            </a:lvl1pPr>
          </a:lstStyle>
          <a:p>
            <a:pPr lvl="0"/>
            <a:r>
              <a:rPr lang="en-US" altLang="en-US" noProof="0"/>
              <a:t>Click to edit Master subtitle style</a:t>
            </a:r>
          </a:p>
        </p:txBody>
      </p:sp>
      <p:sp>
        <p:nvSpPr>
          <p:cNvPr id="6" name="Date Placeholder 5"/>
          <p:cNvSpPr>
            <a:spLocks noGrp="1" noChangeArrowheads="1"/>
          </p:cNvSpPr>
          <p:nvPr>
            <p:ph type="dt" sz="quarter" idx="10"/>
          </p:nvPr>
        </p:nvSpPr>
        <p:spPr bwMode="auto">
          <a:xfrm>
            <a:off x="2499785"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00" rIns="91396" bIns="45700" numCol="1" anchor="ctr" anchorCtr="0" compatLnSpc="1">
            <a:prstTxWarp prst="textNoShape">
              <a:avLst/>
            </a:prstTxWarp>
          </a:bodyPr>
          <a:lstStyle>
            <a:lvl1pPr eaLnBrk="1" hangingPunct="1">
              <a:defRPr sz="975" smtClean="0"/>
            </a:lvl1pPr>
          </a:lstStyle>
          <a:p>
            <a:pPr defTabSz="685470"/>
            <a:fld id="{24B7CC13-F16C-4EF4-A21A-3F3403BACCE0}" type="datetimeFigureOut">
              <a:rPr lang="en-IE" smtClean="0">
                <a:solidFill>
                  <a:srgbClr val="336699"/>
                </a:solidFill>
              </a:rPr>
              <a:pPr defTabSz="685470"/>
              <a:t>01/03/2024</a:t>
            </a:fld>
            <a:endParaRPr lang="en-IE">
              <a:solidFill>
                <a:srgbClr val="336699"/>
              </a:solidFill>
            </a:endParaRPr>
          </a:p>
        </p:txBody>
      </p:sp>
    </p:spTree>
    <p:extLst>
      <p:ext uri="{BB962C8B-B14F-4D97-AF65-F5344CB8AC3E}">
        <p14:creationId xmlns:p14="http://schemas.microsoft.com/office/powerpoint/2010/main" val="1838860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54759" y="1294876"/>
            <a:ext cx="10869789" cy="2852737"/>
          </a:xfrm>
        </p:spPr>
        <p:txBody>
          <a:bodyPr anchor="b"/>
          <a:lstStyle>
            <a:lvl1pPr>
              <a:defRPr sz="4500"/>
            </a:lvl1pPr>
          </a:lstStyle>
          <a:p>
            <a:r>
              <a:rPr lang="en-US"/>
              <a:t>Click to edit Master title style</a:t>
            </a:r>
            <a:endParaRPr lang="en-IE"/>
          </a:p>
        </p:txBody>
      </p:sp>
      <p:sp>
        <p:nvSpPr>
          <p:cNvPr id="3" name="Text Placeholder 2"/>
          <p:cNvSpPr>
            <a:spLocks noGrp="1"/>
          </p:cNvSpPr>
          <p:nvPr>
            <p:ph type="body" idx="1"/>
          </p:nvPr>
        </p:nvSpPr>
        <p:spPr>
          <a:xfrm>
            <a:off x="654759" y="4174603"/>
            <a:ext cx="10869789" cy="1500187"/>
          </a:xfrm>
        </p:spPr>
        <p:txBody>
          <a:bodyPr/>
          <a:lstStyle>
            <a:lvl1pPr marL="0" indent="0">
              <a:buNone/>
              <a:defRPr sz="1800"/>
            </a:lvl1pPr>
            <a:lvl2pPr marL="342735" indent="0">
              <a:buNone/>
              <a:defRPr sz="1500"/>
            </a:lvl2pPr>
            <a:lvl3pPr marL="685470" indent="0">
              <a:buNone/>
              <a:defRPr sz="1350"/>
            </a:lvl3pPr>
            <a:lvl4pPr marL="1028205" indent="0">
              <a:buNone/>
              <a:defRPr sz="1200"/>
            </a:lvl4pPr>
            <a:lvl5pPr marL="1370941" indent="0">
              <a:buNone/>
              <a:defRPr sz="1200"/>
            </a:lvl5pPr>
            <a:lvl6pPr marL="1713676" indent="0">
              <a:buNone/>
              <a:defRPr sz="1200"/>
            </a:lvl6pPr>
            <a:lvl7pPr marL="2056413" indent="0">
              <a:buNone/>
              <a:defRPr sz="1200"/>
            </a:lvl7pPr>
            <a:lvl8pPr marL="2399148" indent="0">
              <a:buNone/>
              <a:defRPr sz="1200"/>
            </a:lvl8pPr>
            <a:lvl9pPr marL="2741883" indent="0">
              <a:buNone/>
              <a:defRPr sz="12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0354553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5" name="Object 4"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6926609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54759" y="1294876"/>
            <a:ext cx="10869789" cy="2852737"/>
          </a:xfrm>
        </p:spPr>
        <p:txBody>
          <a:bodyPr anchor="b"/>
          <a:lstStyle>
            <a:lvl1pPr>
              <a:defRPr sz="4500"/>
            </a:lvl1pPr>
          </a:lstStyle>
          <a:p>
            <a:r>
              <a:rPr lang="en-US"/>
              <a:t>Click to edit Master title style</a:t>
            </a:r>
            <a:endParaRPr lang="en-IE"/>
          </a:p>
        </p:txBody>
      </p:sp>
      <p:sp>
        <p:nvSpPr>
          <p:cNvPr id="3" name="Text Placeholder 2"/>
          <p:cNvSpPr>
            <a:spLocks noGrp="1"/>
          </p:cNvSpPr>
          <p:nvPr>
            <p:ph type="body" idx="1"/>
          </p:nvPr>
        </p:nvSpPr>
        <p:spPr>
          <a:xfrm>
            <a:off x="654759" y="4174603"/>
            <a:ext cx="10869789" cy="1500187"/>
          </a:xfrm>
        </p:spPr>
        <p:txBody>
          <a:bodyPr/>
          <a:lstStyle>
            <a:lvl1pPr marL="0" indent="0">
              <a:buNone/>
              <a:defRPr sz="1800"/>
            </a:lvl1pPr>
            <a:lvl2pPr marL="342735" indent="0">
              <a:buNone/>
              <a:defRPr sz="1500"/>
            </a:lvl2pPr>
            <a:lvl3pPr marL="685470" indent="0">
              <a:buNone/>
              <a:defRPr sz="1350"/>
            </a:lvl3pPr>
            <a:lvl4pPr marL="1028205" indent="0">
              <a:buNone/>
              <a:defRPr sz="1200"/>
            </a:lvl4pPr>
            <a:lvl5pPr marL="1370941" indent="0">
              <a:buNone/>
              <a:defRPr sz="1200"/>
            </a:lvl5pPr>
            <a:lvl6pPr marL="1713676" indent="0">
              <a:buNone/>
              <a:defRPr sz="1200"/>
            </a:lvl6pPr>
            <a:lvl7pPr marL="2056413" indent="0">
              <a:buNone/>
              <a:defRPr sz="1200"/>
            </a:lvl7pPr>
            <a:lvl8pPr marL="2399148" indent="0">
              <a:buNone/>
              <a:defRPr sz="1200"/>
            </a:lvl8pPr>
            <a:lvl9pPr marL="2741883" indent="0">
              <a:buNone/>
              <a:defRPr sz="12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00149858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25" y="1111251"/>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1"/>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1242565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41" y="211672"/>
            <a:ext cx="8861777" cy="770467"/>
          </a:xfrm>
        </p:spPr>
        <p:txBody>
          <a:bodyPr anchor="ctr"/>
          <a:lstStyle/>
          <a:p>
            <a:r>
              <a:rPr lang="en-US"/>
              <a:t>Click to edit Master title style</a:t>
            </a:r>
            <a:endParaRPr lang="en-IE"/>
          </a:p>
        </p:txBody>
      </p:sp>
      <p:sp>
        <p:nvSpPr>
          <p:cNvPr id="3" name="Text Placeholder 2"/>
          <p:cNvSpPr>
            <a:spLocks noGrp="1"/>
          </p:cNvSpPr>
          <p:nvPr>
            <p:ph type="body" idx="1"/>
          </p:nvPr>
        </p:nvSpPr>
        <p:spPr>
          <a:xfrm>
            <a:off x="662525" y="1111250"/>
            <a:ext cx="5312833"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4" name="Content Placeholder 3"/>
          <p:cNvSpPr>
            <a:spLocks noGrp="1"/>
          </p:cNvSpPr>
          <p:nvPr>
            <p:ph sz="half" idx="2"/>
          </p:nvPr>
        </p:nvSpPr>
        <p:spPr>
          <a:xfrm>
            <a:off x="662525" y="1935164"/>
            <a:ext cx="5312833"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1250"/>
            <a:ext cx="5314949"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8551" y="1935164"/>
            <a:ext cx="5314949"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4026631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84260779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36109961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sz="quarter"/>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Content Placeholder 5"/>
          <p:cNvSpPr>
            <a:spLocks noGrp="1"/>
          </p:cNvSpPr>
          <p:nvPr>
            <p:ph sz="quarter" idx="4"/>
          </p:nvPr>
        </p:nvSpPr>
        <p:spPr>
          <a:xfrm>
            <a:off x="6178551" y="36369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203828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62525" y="36369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half" idx="3"/>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99619224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OverTx" preserve="1">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quarter" idx="1"/>
          </p:nvPr>
        </p:nvSpPr>
        <p:spPr>
          <a:xfrm>
            <a:off x="662525" y="1274763"/>
            <a:ext cx="531283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274763"/>
            <a:ext cx="5314949"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half" idx="3"/>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190483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22" y="1274763"/>
            <a:ext cx="10830983" cy="4572000"/>
          </a:xfrm>
        </p:spPr>
        <p:txBody>
          <a:bodyPr/>
          <a:lstStyle/>
          <a:p>
            <a:pPr lvl="0"/>
            <a:r>
              <a:rPr lang="en-US" noProof="0"/>
              <a:t>Click icon to add table</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5908924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25" y="1111251"/>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1"/>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707506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2" y="12747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62522" y="3636963"/>
            <a:ext cx="10830983" cy="2209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6867726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8232260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hart Placeholder 2"/>
          <p:cNvSpPr>
            <a:spLocks noGrp="1"/>
          </p:cNvSpPr>
          <p:nvPr>
            <p:ph type="chart" idx="1"/>
          </p:nvPr>
        </p:nvSpPr>
        <p:spPr>
          <a:xfrm>
            <a:off x="662522" y="1274763"/>
            <a:ext cx="10830983" cy="4572000"/>
          </a:xfrm>
        </p:spPr>
        <p:txBody>
          <a:bodyPr/>
          <a:lstStyle/>
          <a:p>
            <a:pPr lvl="0"/>
            <a:r>
              <a:rPr lang="en-US" noProof="0"/>
              <a:t>Click icon to add chart</a:t>
            </a:r>
            <a:endParaRPr lang="en-IE" noProof="0"/>
          </a:p>
        </p:txBody>
      </p:sp>
      <p:sp>
        <p:nvSpPr>
          <p:cNvPr id="4"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137296423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Content Placeholder 2"/>
          <p:cNvSpPr>
            <a:spLocks noGrp="1"/>
          </p:cNvSpPr>
          <p:nvPr>
            <p:ph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178551" y="1274763"/>
            <a:ext cx="5314949"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9882359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73"/>
            <a:ext cx="9169400"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25" y="1274763"/>
            <a:ext cx="5312833"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Online Image Placeholder 3"/>
          <p:cNvSpPr>
            <a:spLocks noGrp="1"/>
          </p:cNvSpPr>
          <p:nvPr>
            <p:ph type="clipArt" sz="half" idx="2"/>
          </p:nvPr>
        </p:nvSpPr>
        <p:spPr>
          <a:xfrm>
            <a:off x="6178551" y="1274763"/>
            <a:ext cx="5314949" cy="4572000"/>
          </a:xfrm>
        </p:spPr>
        <p:txBody>
          <a:bodyPr/>
          <a:lstStyle/>
          <a:p>
            <a:pPr lvl="0"/>
            <a:r>
              <a:rPr lang="en-US" noProof="0"/>
              <a:t>Click icon to add clip art</a:t>
            </a:r>
            <a:endParaRPr lang="en-IE" noProof="0"/>
          </a:p>
        </p:txBody>
      </p:sp>
      <p:sp>
        <p:nvSpPr>
          <p:cNvPr id="5"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36843787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ESB_Powerpoint_design_background1 150dpi no logo.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5" descr="ESB_Networks_brandma#D1CA6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9667" y="549276"/>
            <a:ext cx="3456517" cy="73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98757" name="Rectangle 10"/>
          <p:cNvSpPr>
            <a:spLocks noGrp="1" noChangeArrowheads="1"/>
          </p:cNvSpPr>
          <p:nvPr>
            <p:ph type="ctrTitle"/>
          </p:nvPr>
        </p:nvSpPr>
        <p:spPr>
          <a:xfrm>
            <a:off x="2499785" y="2500314"/>
            <a:ext cx="8801100" cy="619125"/>
          </a:xfrm>
        </p:spPr>
        <p:txBody>
          <a:bodyPr anchor="b"/>
          <a:lstStyle>
            <a:lvl1pPr>
              <a:defRPr/>
            </a:lvl1pPr>
          </a:lstStyle>
          <a:p>
            <a:pPr lvl="0"/>
            <a:r>
              <a:rPr lang="en-US" noProof="0"/>
              <a:t>Click to edit Master title style</a:t>
            </a:r>
          </a:p>
        </p:txBody>
      </p:sp>
      <p:sp>
        <p:nvSpPr>
          <p:cNvPr id="1098758" name="Rectangle 9"/>
          <p:cNvSpPr>
            <a:spLocks noGrp="1" noChangeArrowheads="1"/>
          </p:cNvSpPr>
          <p:nvPr>
            <p:ph type="subTitle" idx="1"/>
          </p:nvPr>
        </p:nvSpPr>
        <p:spPr>
          <a:xfrm>
            <a:off x="2499785" y="3133726"/>
            <a:ext cx="8801100" cy="619125"/>
          </a:xfrm>
        </p:spPr>
        <p:txBody>
          <a:bodyPr/>
          <a:lstStyle>
            <a:lvl1pPr>
              <a:defRPr>
                <a:solidFill>
                  <a:schemeClr val="tx1"/>
                </a:solidFill>
              </a:defRPr>
            </a:lvl1pPr>
          </a:lstStyle>
          <a:p>
            <a:pPr lvl="0"/>
            <a:r>
              <a:rPr lang="en-US" noProof="0"/>
              <a:t>Click to edit Master subtitle style</a:t>
            </a:r>
          </a:p>
        </p:txBody>
      </p:sp>
      <p:sp>
        <p:nvSpPr>
          <p:cNvPr id="6" name="Date Placeholder 5"/>
          <p:cNvSpPr>
            <a:spLocks noGrp="1" noChangeArrowheads="1"/>
          </p:cNvSpPr>
          <p:nvPr>
            <p:ph type="dt" sz="quarter" idx="10"/>
          </p:nvPr>
        </p:nvSpPr>
        <p:spPr bwMode="auto">
          <a:xfrm>
            <a:off x="2499784" y="4978400"/>
            <a:ext cx="3858683" cy="19843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91440" bIns="45720" numCol="1" anchor="ctr" anchorCtr="0" compatLnSpc="1">
            <a:prstTxWarp prst="textNoShape">
              <a:avLst/>
            </a:prstTxWarp>
          </a:bodyPr>
          <a:lstStyle>
            <a:lvl1pPr>
              <a:defRPr sz="1300">
                <a:cs typeface="+mn-cs"/>
              </a:defRPr>
            </a:lvl1pPr>
          </a:lstStyle>
          <a:p>
            <a:pPr>
              <a:defRPr/>
            </a:pPr>
            <a:fld id="{C7B7D8C4-41B6-4D6B-B7B1-B2DA6CC2C7BB}" type="datetime3">
              <a:rPr lang="en-US" smtClean="0"/>
              <a:t>1 March 2024</a:t>
            </a:fld>
            <a:endParaRPr lang="en-US"/>
          </a:p>
        </p:txBody>
      </p:sp>
    </p:spTree>
    <p:extLst>
      <p:ext uri="{BB962C8B-B14F-4D97-AF65-F5344CB8AC3E}">
        <p14:creationId xmlns:p14="http://schemas.microsoft.com/office/powerpoint/2010/main" val="32036209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290003418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lstStyle>
            <a:lvl1pPr algn="l">
              <a:defRPr sz="4000" b="1" cap="all"/>
            </a:lvl1pPr>
          </a:lstStyle>
          <a:p>
            <a:r>
              <a:rPr lang="en-US"/>
              <a:t>Click to edit Master title style</a:t>
            </a:r>
            <a:endParaRPr lang="en-IE"/>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3511667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Content Placeholder 2"/>
          <p:cNvSpPr>
            <a:spLocks noGrp="1"/>
          </p:cNvSpPr>
          <p:nvPr>
            <p:ph sz="half" idx="1"/>
          </p:nvPr>
        </p:nvSpPr>
        <p:spPr>
          <a:xfrm>
            <a:off x="662518" y="1111250"/>
            <a:ext cx="5312833" cy="4735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0"/>
            <a:ext cx="5314949" cy="47355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203939194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IE"/>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2470955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7341" y="211672"/>
            <a:ext cx="8861777" cy="770467"/>
          </a:xfrm>
        </p:spPr>
        <p:txBody>
          <a:bodyPr anchor="ctr"/>
          <a:lstStyle/>
          <a:p>
            <a:r>
              <a:rPr lang="en-US"/>
              <a:t>Click to edit Master title style</a:t>
            </a:r>
            <a:endParaRPr lang="en-IE"/>
          </a:p>
        </p:txBody>
      </p:sp>
      <p:sp>
        <p:nvSpPr>
          <p:cNvPr id="3" name="Text Placeholder 2"/>
          <p:cNvSpPr>
            <a:spLocks noGrp="1"/>
          </p:cNvSpPr>
          <p:nvPr>
            <p:ph type="body" idx="1"/>
          </p:nvPr>
        </p:nvSpPr>
        <p:spPr>
          <a:xfrm>
            <a:off x="662525" y="1111250"/>
            <a:ext cx="5312833"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4" name="Content Placeholder 3"/>
          <p:cNvSpPr>
            <a:spLocks noGrp="1"/>
          </p:cNvSpPr>
          <p:nvPr>
            <p:ph sz="half" idx="2"/>
          </p:nvPr>
        </p:nvSpPr>
        <p:spPr>
          <a:xfrm>
            <a:off x="662525" y="1935164"/>
            <a:ext cx="5312833"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Text Placeholder 4"/>
          <p:cNvSpPr>
            <a:spLocks noGrp="1"/>
          </p:cNvSpPr>
          <p:nvPr>
            <p:ph type="body" sz="quarter" idx="3"/>
          </p:nvPr>
        </p:nvSpPr>
        <p:spPr>
          <a:xfrm>
            <a:off x="6178551" y="1111250"/>
            <a:ext cx="5314949" cy="823912"/>
          </a:xfrm>
        </p:spPr>
        <p:txBody>
          <a:bodyPr anchor="b"/>
          <a:lstStyle>
            <a:lvl1pPr marL="0" indent="0">
              <a:buNone/>
              <a:defRPr sz="1800" b="1"/>
            </a:lvl1pPr>
            <a:lvl2pPr marL="342735" indent="0">
              <a:buNone/>
              <a:defRPr sz="1500" b="1"/>
            </a:lvl2pPr>
            <a:lvl3pPr marL="685470" indent="0">
              <a:buNone/>
              <a:defRPr sz="1350" b="1"/>
            </a:lvl3pPr>
            <a:lvl4pPr marL="1028205" indent="0">
              <a:buNone/>
              <a:defRPr sz="1200" b="1"/>
            </a:lvl4pPr>
            <a:lvl5pPr marL="1370941" indent="0">
              <a:buNone/>
              <a:defRPr sz="1200" b="1"/>
            </a:lvl5pPr>
            <a:lvl6pPr marL="1713676" indent="0">
              <a:buNone/>
              <a:defRPr sz="1200" b="1"/>
            </a:lvl6pPr>
            <a:lvl7pPr marL="2056413" indent="0">
              <a:buNone/>
              <a:defRPr sz="1200" b="1"/>
            </a:lvl7pPr>
            <a:lvl8pPr marL="2399148" indent="0">
              <a:buNone/>
              <a:defRPr sz="1200" b="1"/>
            </a:lvl8pPr>
            <a:lvl9pPr marL="2741883"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8551" y="1935164"/>
            <a:ext cx="5314949" cy="39116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7" name="Footer Placeholder 50"/>
          <p:cNvSpPr>
            <a:spLocks noGrp="1"/>
          </p:cNvSpPr>
          <p:nvPr>
            <p:ph type="ftr" sz="quarter" idx="10"/>
          </p:nvPr>
        </p:nvSpPr>
        <p:spPr/>
        <p:txBody>
          <a:bodyPr/>
          <a:lstStyle>
            <a:lvl1pPr>
              <a:defRPr/>
            </a:lvl1pPr>
          </a:lstStyle>
          <a:p>
            <a:pPr>
              <a:buClr>
                <a:srgbClr val="A59D95"/>
              </a:buClr>
            </a:pPr>
            <a:endParaRPr lang="en-IE"/>
          </a:p>
        </p:txBody>
      </p:sp>
    </p:spTree>
    <p:extLst>
      <p:ext uri="{BB962C8B-B14F-4D97-AF65-F5344CB8AC3E}">
        <p14:creationId xmlns:p14="http://schemas.microsoft.com/office/powerpoint/2010/main" val="208424006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9049910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13040845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IE"/>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20882274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IE"/>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IE"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11876167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E"/>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81369349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86284" y="398463"/>
            <a:ext cx="2707216" cy="5448300"/>
          </a:xfrm>
        </p:spPr>
        <p:txBody>
          <a:bodyPr vert="eaVert"/>
          <a:lstStyle/>
          <a:p>
            <a:r>
              <a:rPr lang="en-US"/>
              <a:t>Click to edit Master title style</a:t>
            </a:r>
            <a:endParaRPr lang="en-IE"/>
          </a:p>
        </p:txBody>
      </p:sp>
      <p:sp>
        <p:nvSpPr>
          <p:cNvPr id="3" name="Vertical Text Placeholder 2"/>
          <p:cNvSpPr>
            <a:spLocks noGrp="1"/>
          </p:cNvSpPr>
          <p:nvPr>
            <p:ph type="body" orient="vert" idx="1"/>
          </p:nvPr>
        </p:nvSpPr>
        <p:spPr>
          <a:xfrm>
            <a:off x="660401" y="398463"/>
            <a:ext cx="7922684" cy="5448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8702670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8892117"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half" idx="2"/>
          </p:nvPr>
        </p:nvSpPr>
        <p:spPr>
          <a:xfrm>
            <a:off x="6178551" y="1111250"/>
            <a:ext cx="5314949"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9025008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8892117"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ontent Placeholder 3"/>
          <p:cNvSpPr>
            <a:spLocks noGrp="1"/>
          </p:cNvSpPr>
          <p:nvPr>
            <p:ph sz="quarter" idx="2"/>
          </p:nvPr>
        </p:nvSpPr>
        <p:spPr>
          <a:xfrm>
            <a:off x="6178551" y="1111251"/>
            <a:ext cx="5314949" cy="22907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5" name="Content Placeholder 4"/>
          <p:cNvSpPr>
            <a:spLocks noGrp="1"/>
          </p:cNvSpPr>
          <p:nvPr>
            <p:ph sz="quarter" idx="3"/>
          </p:nvPr>
        </p:nvSpPr>
        <p:spPr>
          <a:xfrm>
            <a:off x="6178551" y="3554413"/>
            <a:ext cx="5314949" cy="2292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32823942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8892117" cy="536575"/>
          </a:xfrm>
        </p:spPr>
        <p:txBody>
          <a:bodyPr/>
          <a:lstStyle/>
          <a:p>
            <a:r>
              <a:rPr lang="en-US"/>
              <a:t>Click to edit Master title style</a:t>
            </a:r>
            <a:endParaRPr lang="en-IE"/>
          </a:p>
        </p:txBody>
      </p:sp>
      <p:sp>
        <p:nvSpPr>
          <p:cNvPr id="3" name="Table Placeholder 2"/>
          <p:cNvSpPr>
            <a:spLocks noGrp="1"/>
          </p:cNvSpPr>
          <p:nvPr>
            <p:ph type="tbl" idx="1"/>
          </p:nvPr>
        </p:nvSpPr>
        <p:spPr>
          <a:xfrm>
            <a:off x="662518" y="1111250"/>
            <a:ext cx="10830983" cy="4735513"/>
          </a:xfrm>
        </p:spPr>
        <p:txBody>
          <a:bodyPr/>
          <a:lstStyle/>
          <a:p>
            <a:pPr lvl="0"/>
            <a:endParaRPr lang="en-IE" noProof="0"/>
          </a:p>
        </p:txBody>
      </p:sp>
      <p:sp>
        <p:nvSpPr>
          <p:cNvPr id="4"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4338739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xAndClipArt" preserve="1">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60400" y="398464"/>
            <a:ext cx="8892117" cy="536575"/>
          </a:xfrm>
        </p:spPr>
        <p:txBody>
          <a:bodyPr/>
          <a:lstStyle/>
          <a:p>
            <a:r>
              <a:rPr lang="en-US"/>
              <a:t>Click to edit Master title style</a:t>
            </a:r>
            <a:endParaRPr lang="en-IE"/>
          </a:p>
        </p:txBody>
      </p:sp>
      <p:sp>
        <p:nvSpPr>
          <p:cNvPr id="3" name="Text Placeholder 2"/>
          <p:cNvSpPr>
            <a:spLocks noGrp="1"/>
          </p:cNvSpPr>
          <p:nvPr>
            <p:ph type="body" sz="half" idx="1"/>
          </p:nvPr>
        </p:nvSpPr>
        <p:spPr>
          <a:xfrm>
            <a:off x="662518" y="1111250"/>
            <a:ext cx="5312833" cy="47355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ClipArt Placeholder 3"/>
          <p:cNvSpPr>
            <a:spLocks noGrp="1"/>
          </p:cNvSpPr>
          <p:nvPr>
            <p:ph type="clipArt" sz="half" idx="2"/>
          </p:nvPr>
        </p:nvSpPr>
        <p:spPr>
          <a:xfrm>
            <a:off x="6178551" y="1111250"/>
            <a:ext cx="5314949" cy="4735513"/>
          </a:xfrm>
        </p:spPr>
        <p:txBody>
          <a:bodyPr/>
          <a:lstStyle/>
          <a:p>
            <a:pPr lvl="0"/>
            <a:endParaRPr lang="en-IE" noProof="0"/>
          </a:p>
        </p:txBody>
      </p:sp>
      <p:sp>
        <p:nvSpPr>
          <p:cNvPr id="5" name="Footer Placeholder 50"/>
          <p:cNvSpPr>
            <a:spLocks noGrp="1"/>
          </p:cNvSpPr>
          <p:nvPr>
            <p:ph type="ftr" sz="quarter" idx="10"/>
          </p:nvPr>
        </p:nvSpPr>
        <p:spPr/>
        <p:txBody>
          <a:bodyPr/>
          <a:lstStyle>
            <a:lvl1pPr>
              <a:defRPr/>
            </a:lvl1pPr>
          </a:lstStyle>
          <a:p>
            <a:pPr>
              <a:defRPr/>
            </a:pPr>
            <a:endParaRPr lang="en-IE"/>
          </a:p>
        </p:txBody>
      </p:sp>
    </p:spTree>
    <p:extLst>
      <p:ext uri="{BB962C8B-B14F-4D97-AF65-F5344CB8AC3E}">
        <p14:creationId xmlns:p14="http://schemas.microsoft.com/office/powerpoint/2010/main" val="162750552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jpeg"/><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ags" Target="../tags/tag1.xml"/><Relationship Id="rId3" Type="http://schemas.openxmlformats.org/officeDocument/2006/relationships/slideLayout" Target="../slideLayouts/slideLayout7.xml"/><Relationship Id="rId21" Type="http://schemas.openxmlformats.org/officeDocument/2006/relationships/image" Target="../media/image3.jpeg"/><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theme" Target="../theme/theme3.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image" Target="../media/image4.emf"/><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oleObject" Target="../embeddings/oleObject1.bin"/><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image" Target="../media/image3.jpe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theme" Target="../theme/theme4.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image" Target="../media/image5.png"/><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image" Target="../media/image3.jpe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heme" Target="../theme/theme5.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5.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tags" Target="../tags/tag3.xml"/><Relationship Id="rId3" Type="http://schemas.openxmlformats.org/officeDocument/2006/relationships/slideLayout" Target="../slideLayouts/slideLayout55.xml"/><Relationship Id="rId21" Type="http://schemas.openxmlformats.org/officeDocument/2006/relationships/image" Target="../media/image3.jpe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theme" Target="../theme/theme6.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image" Target="../media/image4.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oleObject" Target="../embeddings/oleObject3.bin"/><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tags" Target="../tags/tag5.xml"/><Relationship Id="rId3" Type="http://schemas.openxmlformats.org/officeDocument/2006/relationships/slideLayout" Target="../slideLayouts/slideLayout71.xml"/><Relationship Id="rId21" Type="http://schemas.openxmlformats.org/officeDocument/2006/relationships/image" Target="../media/image3.jpeg"/><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7.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image" Target="../media/image4.emf"/><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19" Type="http://schemas.openxmlformats.org/officeDocument/2006/relationships/oleObject" Target="../embeddings/oleObject5.bin"/><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image" Target="../media/image5.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image" Target="../media/image5.pn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9.jpeg"/><Relationship Id="rId2" Type="http://schemas.openxmlformats.org/officeDocument/2006/relationships/slideLayout" Target="../slideLayouts/slideLayout86.xml"/><Relationship Id="rId16" Type="http://schemas.openxmlformats.org/officeDocument/2006/relationships/theme" Target="../theme/theme8.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image" Target="../media/image11.jpeg"/><Relationship Id="rId5" Type="http://schemas.openxmlformats.org/officeDocument/2006/relationships/slideLayout" Target="../slideLayouts/slideLayout104.xml"/><Relationship Id="rId10"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8" descr="ESB_Powerpoint_design_background2 150dpi no logo.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1" name="Picture 9" descr="ESB_brandmark_strapline_adobe_rgb.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836151" y="487364"/>
            <a:ext cx="1659467" cy="395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2" name="Rectangle 17"/>
          <p:cNvSpPr>
            <a:spLocks noGrp="1" noChangeArrowheads="1"/>
          </p:cNvSpPr>
          <p:nvPr>
            <p:ph type="title"/>
          </p:nvPr>
        </p:nvSpPr>
        <p:spPr bwMode="auto">
          <a:xfrm>
            <a:off x="2500800" y="2503489"/>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59454" rIns="118909" bIns="59454" numCol="1" anchor="b" anchorCtr="0" compatLnSpc="1">
            <a:prstTxWarp prst="textNoShape">
              <a:avLst/>
            </a:prstTxWarp>
          </a:bodyPr>
          <a:lstStyle/>
          <a:p>
            <a:pPr lvl="0"/>
            <a:r>
              <a:rPr lang="en-US"/>
              <a:t>Click to edit Master title style</a:t>
            </a:r>
          </a:p>
        </p:txBody>
      </p:sp>
      <p:sp>
        <p:nvSpPr>
          <p:cNvPr id="2053" name="Rectangle 18"/>
          <p:cNvSpPr>
            <a:spLocks noGrp="1" noChangeArrowheads="1"/>
          </p:cNvSpPr>
          <p:nvPr>
            <p:ph type="body" idx="1"/>
          </p:nvPr>
        </p:nvSpPr>
        <p:spPr bwMode="auto">
          <a:xfrm>
            <a:off x="2500800" y="3133726"/>
            <a:ext cx="8805333" cy="6191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44489" rIns="88977" bIns="44489" numCol="1" anchor="t" anchorCtr="0" compatLnSpc="1">
            <a:prstTxWarp prst="textNoShape">
              <a:avLst/>
            </a:prstTxWarp>
          </a:bodyPr>
          <a:lstStyle/>
          <a:p>
            <a:pPr lvl="0"/>
            <a:r>
              <a:rPr lang="en-US"/>
              <a:t>Click to edit Master text styles</a:t>
            </a:r>
          </a:p>
        </p:txBody>
      </p:sp>
    </p:spTree>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Lst>
  <p:hf sldNum="0" hdr="0" ftr="0" dt="0"/>
  <p:txStyles>
    <p:titleStyle>
      <a:lvl1pPr algn="l" rtl="0" eaLnBrk="0" fontAlgn="base" hangingPunct="0">
        <a:spcBef>
          <a:spcPct val="0"/>
        </a:spcBef>
        <a:spcAft>
          <a:spcPct val="0"/>
        </a:spcAft>
        <a:defRPr sz="3200" b="1" kern="1200">
          <a:solidFill>
            <a:schemeClr val="tx1"/>
          </a:solidFill>
          <a:latin typeface="+mj-lt"/>
          <a:ea typeface="+mj-ea"/>
          <a:cs typeface="+mj-cs"/>
        </a:defRPr>
      </a:lvl1pPr>
      <a:lvl2pPr algn="l" rtl="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3200" b="1">
          <a:solidFill>
            <a:schemeClr val="tx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3200" b="1">
          <a:solidFill>
            <a:schemeClr val="tx1"/>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3200" b="1">
          <a:solidFill>
            <a:schemeClr val="tx1"/>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3200" b="1">
          <a:solidFill>
            <a:schemeClr val="tx1"/>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3200" b="1">
          <a:solidFill>
            <a:schemeClr val="tx1"/>
          </a:solidFill>
          <a:latin typeface="Arial" panose="020B0604020202020204" pitchFamily="34" charset="0"/>
          <a:cs typeface="Arial" panose="020B0604020202020204" pitchFamily="34" charset="0"/>
        </a:defRPr>
      </a:lvl9pPr>
    </p:titleStyle>
    <p:bodyStyle>
      <a:lvl1pPr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chemeClr val="tx1"/>
          </a:solidFill>
          <a:latin typeface="+mn-lt"/>
          <a:ea typeface="+mn-ea"/>
          <a:cs typeface="+mn-cs"/>
        </a:defRPr>
      </a:lvl1pPr>
      <a:lvl2pPr marL="457200" indent="-455613"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2pPr>
      <a:lvl3pPr marL="914400" indent="-625475"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3pPr>
      <a:lvl4pPr marL="1371600" indent="-754063"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4pPr>
      <a:lvl5pPr marL="1828800" indent="-900113"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3074" name="Picture 46" descr="ESB_Powerpoint_design_background3.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panose="020B0604020202020204" pitchFamily="34" charset="0"/>
                <a:cs typeface="Arial" panose="020B0604020202020204" pitchFamily="34" charset="0"/>
              </a:defRPr>
            </a:lvl1pPr>
            <a:lvl2pPr marL="742950" indent="-285750" defTabSz="684213">
              <a:defRPr>
                <a:solidFill>
                  <a:schemeClr val="tx1"/>
                </a:solidFill>
                <a:latin typeface="Arial" panose="020B0604020202020204" pitchFamily="34" charset="0"/>
                <a:cs typeface="Arial" panose="020B0604020202020204" pitchFamily="34" charset="0"/>
              </a:defRPr>
            </a:lvl2pPr>
            <a:lvl3pPr marL="1143000" indent="-228600" defTabSz="684213">
              <a:defRPr>
                <a:solidFill>
                  <a:schemeClr val="tx1"/>
                </a:solidFill>
                <a:latin typeface="Arial" panose="020B0604020202020204" pitchFamily="34" charset="0"/>
                <a:cs typeface="Arial" panose="020B0604020202020204" pitchFamily="34" charset="0"/>
              </a:defRPr>
            </a:lvl3pPr>
            <a:lvl4pPr marL="1600200" indent="-228600" defTabSz="684213">
              <a:defRPr>
                <a:solidFill>
                  <a:schemeClr val="tx1"/>
                </a:solidFill>
                <a:latin typeface="Arial" panose="020B0604020202020204" pitchFamily="34" charset="0"/>
                <a:cs typeface="Arial" panose="020B0604020202020204" pitchFamily="34" charset="0"/>
              </a:defRPr>
            </a:lvl4pPr>
            <a:lvl5pPr marL="2057400" indent="-228600" defTabSz="684213">
              <a:defRPr>
                <a:solidFill>
                  <a:schemeClr val="tx1"/>
                </a:solidFill>
                <a:latin typeface="Arial" panose="020B0604020202020204" pitchFamily="34" charset="0"/>
                <a:cs typeface="Arial" panose="020B0604020202020204" pitchFamily="34" charset="0"/>
              </a:defRPr>
            </a:lvl5pPr>
            <a:lvl6pPr marL="25146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4213"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fld id="{13006709-ABBE-49A4-8214-624050AFADE3}" type="slidenum">
              <a:rPr lang="en-US" sz="1000" smtClean="0">
                <a:solidFill>
                  <a:srgbClr val="FFFFFF"/>
                </a:solidFill>
              </a:rPr>
              <a:pPr algn="ctr">
                <a:lnSpc>
                  <a:spcPct val="90000"/>
                </a:lnSpc>
                <a:spcAft>
                  <a:spcPct val="50000"/>
                </a:spcAft>
                <a:buClr>
                  <a:schemeClr val="bg1"/>
                </a:buClr>
                <a:buSzPct val="25000"/>
                <a:buFont typeface="Wingdings" panose="05000000000000000000" pitchFamily="2" charset="2"/>
                <a:buNone/>
                <a:defRPr/>
              </a:pPr>
              <a:t>‹#›</a:t>
            </a:fld>
            <a:endParaRPr lang="en-US" sz="1000">
              <a:solidFill>
                <a:srgbClr val="FFFFFF"/>
              </a:solidFill>
            </a:endParaRPr>
          </a:p>
        </p:txBody>
      </p:sp>
      <p:sp>
        <p:nvSpPr>
          <p:cNvPr id="51" name="Footer Placeholder 50"/>
          <p:cNvSpPr>
            <a:spLocks noGrp="1"/>
          </p:cNvSpPr>
          <p:nvPr>
            <p:ph type="ftr" sz="quarter" idx="3"/>
          </p:nvPr>
        </p:nvSpPr>
        <p:spPr>
          <a:xfrm>
            <a:off x="5327651" y="6538913"/>
            <a:ext cx="5494867"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anose="05000000000000000000" pitchFamily="2" charset="2"/>
              <a:buNone/>
              <a:defRPr sz="1000">
                <a:solidFill>
                  <a:srgbClr val="FFFFFF"/>
                </a:solidFill>
              </a:defRPr>
            </a:lvl1pPr>
          </a:lstStyle>
          <a:p>
            <a:pPr>
              <a:defRPr/>
            </a:pPr>
            <a:endParaRPr lang="en-IE"/>
          </a:p>
        </p:txBody>
      </p:sp>
      <p:sp>
        <p:nvSpPr>
          <p:cNvPr id="54" name="Footer Placeholder 50"/>
          <p:cNvSpPr txBox="1">
            <a:spLocks/>
          </p:cNvSpPr>
          <p:nvPr/>
        </p:nvSpPr>
        <p:spPr>
          <a:xfrm>
            <a:off x="10615085" y="6454776"/>
            <a:ext cx="1246716"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 esb.ie</a:t>
            </a:r>
          </a:p>
        </p:txBody>
      </p:sp>
    </p:spTree>
  </p:cSld>
  <p:clrMap bg1="lt1" tx1="dk1" bg2="lt2" tx2="dk2" accent1="accent1" accent2="accent2" accent3="accent3" accent4="accent4" accent5="accent5" accent6="accent6" hlink="hlink" folHlink="folHlink"/>
  <p:sldLayoutIdLst>
    <p:sldLayoutId id="2147484099" r:id="rId1"/>
  </p:sldLayoutIdLst>
  <p:hf sldNum="0" hdr="0" ftr="0" dt="0"/>
  <p:txStyles>
    <p:titleStyle>
      <a:lvl1pPr algn="l" rtl="0" eaLnBrk="0" fontAlgn="base" hangingPunct="0">
        <a:spcBef>
          <a:spcPct val="0"/>
        </a:spcBef>
        <a:spcAft>
          <a:spcPct val="0"/>
        </a:spcAft>
        <a:defRPr sz="2400" b="1" kern="1200">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0" fontAlgn="base" hangingPunct="0">
        <a:spcBef>
          <a:spcPct val="0"/>
        </a:spcBef>
        <a:spcAft>
          <a:spcPts val="1200"/>
        </a:spcAft>
        <a:buClr>
          <a:schemeClr val="bg2"/>
        </a:buClr>
        <a:buSzPct val="100000"/>
        <a:buFont typeface="Arial" panose="020B0604020202020204" pitchFamily="34" charset="0"/>
        <a:defRPr sz="1600" b="1" kern="1200">
          <a:solidFill>
            <a:srgbClr val="003C71"/>
          </a:solidFill>
          <a:latin typeface="+mn-lt"/>
          <a:ea typeface="+mn-ea"/>
          <a:cs typeface="+mn-cs"/>
        </a:defRPr>
      </a:lvl1pPr>
      <a:lvl2pPr marL="215900" indent="-214313" algn="l" defTabSz="889000" rtl="0" eaLnBrk="0" fontAlgn="base" hangingPunct="0">
        <a:spcBef>
          <a:spcPct val="0"/>
        </a:spcBef>
        <a:spcAft>
          <a:spcPct val="50000"/>
        </a:spcAft>
        <a:buClr>
          <a:schemeClr val="accent2"/>
        </a:buClr>
        <a:buFont typeface="Arial" panose="020B0604020202020204" pitchFamily="34" charset="0"/>
        <a:buChar char="●"/>
        <a:defRPr sz="1500" kern="1200">
          <a:solidFill>
            <a:srgbClr val="336699"/>
          </a:solidFill>
          <a:latin typeface="+mn-lt"/>
          <a:ea typeface="+mn-ea"/>
          <a:cs typeface="+mn-cs"/>
        </a:defRPr>
      </a:lvl2pPr>
      <a:lvl3pPr marL="506413" indent="-217488" algn="l" defTabSz="889000" rtl="0" eaLnBrk="0" fontAlgn="base" hangingPunct="0">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0" fontAlgn="base" hangingPunct="0">
        <a:spcBef>
          <a:spcPct val="0"/>
        </a:spcBef>
        <a:spcAft>
          <a:spcPct val="50000"/>
        </a:spcAft>
        <a:buClr>
          <a:srgbClr val="333333"/>
        </a:buClr>
        <a:buFont typeface="Wingdings" panose="05000000000000000000" pitchFamily="2" charset="2"/>
        <a:buChar char="§"/>
        <a:defRPr sz="1200" kern="1200">
          <a:solidFill>
            <a:srgbClr val="003C71"/>
          </a:solidFill>
          <a:latin typeface="+mn-lt"/>
          <a:ea typeface="+mn-ea"/>
          <a:cs typeface="+mn-cs"/>
        </a:defRPr>
      </a:lvl4pPr>
      <a:lvl5pPr marL="1082675" indent="-153988" algn="l" defTabSz="889000" rtl="0" eaLnBrk="0" fontAlgn="base" hangingPunct="0">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589" y="1590"/>
                        <a:ext cx="1587" cy="1587"/>
                      </a:xfrm>
                      <a:prstGeom prst="rect">
                        <a:avLst/>
                      </a:prstGeom>
                    </p:spPr>
                  </p:pic>
                </p:oleObj>
              </mc:Fallback>
            </mc:AlternateContent>
          </a:graphicData>
        </a:graphic>
      </p:graphicFrame>
      <p:pic>
        <p:nvPicPr>
          <p:cNvPr id="1026" name="Picture 46" descr="ESB_Powerpoint_design_background3.jp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73"/>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26" rIns="118851" bIns="59426" numCol="1" anchor="t" anchorCtr="0" compatLnSpc="1">
            <a:prstTxWarp prst="textNoShape">
              <a:avLst/>
            </a:prstTxWarp>
          </a:bodyPr>
          <a:lstStyle/>
          <a:p>
            <a:pPr lvl="0"/>
            <a:r>
              <a:rPr lang="en-US" altLang="en-US"/>
              <a:t>Click to edit Master title style</a:t>
            </a:r>
            <a:endParaRPr lang="en-GB" altLang="en-US"/>
          </a:p>
        </p:txBody>
      </p:sp>
      <p:sp>
        <p:nvSpPr>
          <p:cNvPr id="1028" name="Rectangle 9"/>
          <p:cNvSpPr>
            <a:spLocks noGrp="1" noChangeArrowheads="1"/>
          </p:cNvSpPr>
          <p:nvPr>
            <p:ph type="body" idx="1"/>
          </p:nvPr>
        </p:nvSpPr>
        <p:spPr bwMode="auto">
          <a:xfrm>
            <a:off x="662522" y="1111251"/>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69" rIns="88934" bIns="4446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5" y="6523039"/>
            <a:ext cx="582084" cy="173094"/>
          </a:xfrm>
          <a:prstGeom prst="rect">
            <a:avLst/>
          </a:prstGeom>
          <a:noFill/>
          <a:ln w="9525" algn="ctr">
            <a:noFill/>
            <a:miter lim="800000"/>
            <a:headEnd/>
            <a:tailEnd/>
          </a:ln>
          <a:effectLst/>
        </p:spPr>
        <p:txBody>
          <a:bodyPr lIns="68547" tIns="34275" rIns="68547" bIns="34275">
            <a:spAutoFit/>
          </a:bodyPr>
          <a:lstStyle>
            <a:lvl1pPr defTabSz="684213">
              <a:defRPr>
                <a:solidFill>
                  <a:schemeClr val="tx1"/>
                </a:solidFill>
                <a:latin typeface="Arial" charset="0"/>
                <a:cs typeface="Arial" charset="0"/>
              </a:defRPr>
            </a:lvl1pPr>
            <a:lvl2pPr marL="742950" indent="-285750" defTabSz="684213">
              <a:defRPr>
                <a:solidFill>
                  <a:schemeClr val="tx1"/>
                </a:solidFill>
                <a:latin typeface="Arial" charset="0"/>
                <a:cs typeface="Arial" charset="0"/>
              </a:defRPr>
            </a:lvl2pPr>
            <a:lvl3pPr marL="1143000" indent="-228600" defTabSz="684213">
              <a:defRPr>
                <a:solidFill>
                  <a:schemeClr val="tx1"/>
                </a:solidFill>
                <a:latin typeface="Arial" charset="0"/>
                <a:cs typeface="Arial" charset="0"/>
              </a:defRPr>
            </a:lvl3pPr>
            <a:lvl4pPr marL="1600200" indent="-228600" defTabSz="684213">
              <a:defRPr>
                <a:solidFill>
                  <a:schemeClr val="tx1"/>
                </a:solidFill>
                <a:latin typeface="Arial" charset="0"/>
                <a:cs typeface="Arial" charset="0"/>
              </a:defRPr>
            </a:lvl4pPr>
            <a:lvl5pPr marL="2057400" indent="-228600" defTabSz="684213">
              <a:defRPr>
                <a:solidFill>
                  <a:schemeClr val="tx1"/>
                </a:solidFill>
                <a:latin typeface="Arial" charset="0"/>
                <a:cs typeface="Arial" charset="0"/>
              </a:defRPr>
            </a:lvl5pPr>
            <a:lvl6pPr marL="2514600" indent="-228600" defTabSz="684213" eaLnBrk="0" fontAlgn="base" hangingPunct="0">
              <a:spcBef>
                <a:spcPct val="0"/>
              </a:spcBef>
              <a:spcAft>
                <a:spcPct val="0"/>
              </a:spcAft>
              <a:defRPr>
                <a:solidFill>
                  <a:schemeClr val="tx1"/>
                </a:solidFill>
                <a:latin typeface="Arial" charset="0"/>
                <a:cs typeface="Arial" charset="0"/>
              </a:defRPr>
            </a:lvl6pPr>
            <a:lvl7pPr marL="2971800" indent="-228600" defTabSz="684213" eaLnBrk="0" fontAlgn="base" hangingPunct="0">
              <a:spcBef>
                <a:spcPct val="0"/>
              </a:spcBef>
              <a:spcAft>
                <a:spcPct val="0"/>
              </a:spcAft>
              <a:defRPr>
                <a:solidFill>
                  <a:schemeClr val="tx1"/>
                </a:solidFill>
                <a:latin typeface="Arial" charset="0"/>
                <a:cs typeface="Arial" charset="0"/>
              </a:defRPr>
            </a:lvl7pPr>
            <a:lvl8pPr marL="3429000" indent="-228600" defTabSz="684213" eaLnBrk="0" fontAlgn="base" hangingPunct="0">
              <a:spcBef>
                <a:spcPct val="0"/>
              </a:spcBef>
              <a:spcAft>
                <a:spcPct val="0"/>
              </a:spcAft>
              <a:defRPr>
                <a:solidFill>
                  <a:schemeClr val="tx1"/>
                </a:solidFill>
                <a:latin typeface="Arial" charset="0"/>
                <a:cs typeface="Arial" charset="0"/>
              </a:defRPr>
            </a:lvl8pPr>
            <a:lvl9pPr marL="3886200" indent="-228600" defTabSz="684213"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lnSpc>
                <a:spcPct val="90000"/>
              </a:lnSpc>
              <a:spcBef>
                <a:spcPts val="0"/>
              </a:spcBef>
              <a:spcAft>
                <a:spcPct val="50000"/>
              </a:spcAft>
              <a:buClr>
                <a:srgbClr val="A59D95"/>
              </a:buClr>
              <a:buSzPct val="25000"/>
              <a:buFont typeface="Wingdings" pitchFamily="2" charset="2"/>
              <a:buNone/>
              <a:defRPr/>
            </a:pPr>
            <a:fld id="{8A5C6543-ADB9-45BA-BA42-89815372F924}" type="slidenum">
              <a:rPr lang="en-US" altLang="en-US" sz="750" smtClean="0">
                <a:solidFill>
                  <a:srgbClr val="FFFFFF"/>
                </a:solidFill>
              </a:rPr>
              <a:pPr algn="ctr" eaLnBrk="1" fontAlgn="auto" hangingPunct="1">
                <a:lnSpc>
                  <a:spcPct val="90000"/>
                </a:lnSpc>
                <a:spcBef>
                  <a:spcPts val="0"/>
                </a:spcBef>
                <a:spcAft>
                  <a:spcPct val="50000"/>
                </a:spcAft>
                <a:buClr>
                  <a:srgbClr val="A59D95"/>
                </a:buClr>
                <a:buSzPct val="25000"/>
                <a:buFont typeface="Wingdings" pitchFamily="2" charset="2"/>
                <a:buNone/>
                <a:defRPr/>
              </a:pPr>
              <a:t>‹#›</a:t>
            </a:fld>
            <a:endParaRPr lang="en-US" altLang="en-US" sz="750">
              <a:solidFill>
                <a:srgbClr val="FFFFFF"/>
              </a:solidFill>
            </a:endParaRPr>
          </a:p>
        </p:txBody>
      </p:sp>
      <p:sp>
        <p:nvSpPr>
          <p:cNvPr id="51" name="Footer Placeholder 50"/>
          <p:cNvSpPr>
            <a:spLocks noGrp="1"/>
          </p:cNvSpPr>
          <p:nvPr>
            <p:ph type="ftr" sz="quarter" idx="3"/>
          </p:nvPr>
        </p:nvSpPr>
        <p:spPr>
          <a:xfrm>
            <a:off x="5327653" y="6538913"/>
            <a:ext cx="5088467" cy="196850"/>
          </a:xfrm>
          <a:prstGeom prst="rect">
            <a:avLst/>
          </a:prstGeom>
        </p:spPr>
        <p:txBody>
          <a:bodyPr vert="horz" wrap="square" lIns="91396" tIns="45700" rIns="91396" bIns="45700" numCol="1" anchor="ctr" anchorCtr="0" compatLnSpc="1">
            <a:prstTxWarp prst="textNoShape">
              <a:avLst/>
            </a:prstTxWarp>
          </a:bodyPr>
          <a:lstStyle>
            <a:lvl1pPr>
              <a:lnSpc>
                <a:spcPct val="90000"/>
              </a:lnSpc>
              <a:spcAft>
                <a:spcPct val="50000"/>
              </a:spcAft>
              <a:buClr>
                <a:schemeClr val="bg1"/>
              </a:buClr>
              <a:buSzPct val="25000"/>
              <a:buFont typeface="Wingdings" pitchFamily="2" charset="2"/>
              <a:buNone/>
              <a:defRPr sz="750" smtClean="0">
                <a:solidFill>
                  <a:srgbClr val="FFFFFF"/>
                </a:solidFill>
              </a:defRPr>
            </a:lvl1pPr>
          </a:lstStyle>
          <a:p>
            <a:pPr defTabSz="685470" eaLnBrk="1" fontAlgn="auto" hangingPunct="1">
              <a:spcBef>
                <a:spcPts val="0"/>
              </a:spcBef>
              <a:buClr>
                <a:srgbClr val="A59D95"/>
              </a:buClr>
            </a:pPr>
            <a:endParaRPr lang="en-IE">
              <a:latin typeface="Arial"/>
              <a:cs typeface="Arial"/>
            </a:endParaRPr>
          </a:p>
        </p:txBody>
      </p:sp>
      <p:sp>
        <p:nvSpPr>
          <p:cNvPr id="54" name="Footer Placeholder 50"/>
          <p:cNvSpPr txBox="1">
            <a:spLocks/>
          </p:cNvSpPr>
          <p:nvPr/>
        </p:nvSpPr>
        <p:spPr>
          <a:xfrm>
            <a:off x="10363200" y="6454830"/>
            <a:ext cx="1498600" cy="365125"/>
          </a:xfrm>
          <a:prstGeom prst="rect">
            <a:avLst/>
          </a:prstGeom>
        </p:spPr>
        <p:txBody>
          <a:bodyPr lIns="68547" tIns="34275" rIns="68547" bIns="34275"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470" eaLnBrk="1" fontAlgn="auto" hangingPunct="1">
              <a:lnSpc>
                <a:spcPct val="90000"/>
              </a:lnSpc>
              <a:spcBef>
                <a:spcPts val="0"/>
              </a:spcBef>
              <a:spcAft>
                <a:spcPct val="50000"/>
              </a:spcAft>
              <a:buClr>
                <a:srgbClr val="A59D95"/>
              </a:buClr>
              <a:buSzPct val="25000"/>
              <a:buFont typeface="Wingdings" panose="05000000000000000000" pitchFamily="2" charset="2"/>
              <a:buNone/>
              <a:defRPr/>
            </a:pPr>
            <a:r>
              <a:rPr lang="en-IE" sz="750" b="1">
                <a:solidFill>
                  <a:srgbClr val="FFFFFF"/>
                </a:solidFill>
              </a:rPr>
              <a:t>esbnetworks.ie</a:t>
            </a:r>
          </a:p>
        </p:txBody>
      </p:sp>
      <p:sp>
        <p:nvSpPr>
          <p:cNvPr id="10" name="Rectangle 13"/>
          <p:cNvSpPr>
            <a:spLocks noChangeArrowheads="1"/>
          </p:cNvSpPr>
          <p:nvPr/>
        </p:nvSpPr>
        <p:spPr bwMode="auto">
          <a:xfrm>
            <a:off x="662522"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lIns="68547" tIns="34275" rIns="68547" bIns="34275"/>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1" fontAlgn="auto" hangingPunct="1">
              <a:lnSpc>
                <a:spcPct val="90000"/>
              </a:lnSpc>
              <a:spcBef>
                <a:spcPts val="0"/>
              </a:spcBef>
              <a:spcAft>
                <a:spcPct val="50000"/>
              </a:spcAft>
              <a:buClr>
                <a:srgbClr val="A59D95"/>
              </a:buClr>
              <a:buSzPct val="25000"/>
              <a:buFont typeface="Wingdings" panose="05000000000000000000" pitchFamily="2" charset="2"/>
              <a:buNone/>
              <a:defRPr/>
            </a:pPr>
            <a:endParaRPr lang="en-IE" sz="750">
              <a:solidFill>
                <a:srgbClr val="336699"/>
              </a:solidFill>
            </a:endParaRPr>
          </a:p>
        </p:txBody>
      </p:sp>
      <p:pic>
        <p:nvPicPr>
          <p:cNvPr id="1033" name="Picture 24" descr="ESB_Networks_brandma#D1CA6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9953199"/>
      </p:ext>
    </p:extLst>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 id="2147484113" r:id="rId12"/>
    <p:sldLayoutId id="2147484114" r:id="rId13"/>
    <p:sldLayoutId id="2147484115" r:id="rId14"/>
    <p:sldLayoutId id="2147484116" r:id="rId15"/>
    <p:sldLayoutId id="2147484117" r:id="rId16"/>
  </p:sldLayoutIdLst>
  <p:txStyles>
    <p:titleStyle>
      <a:lvl1pPr algn="l" rtl="0" eaLnBrk="1" fontAlgn="base" hangingPunct="1">
        <a:spcBef>
          <a:spcPct val="0"/>
        </a:spcBef>
        <a:spcAft>
          <a:spcPct val="0"/>
        </a:spcAft>
        <a:defRPr sz="1800" b="1" kern="1200">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5pPr>
      <a:lvl6pPr marL="34273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6pPr>
      <a:lvl7pPr marL="685470"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7pPr>
      <a:lvl8pPr marL="102820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8pPr>
      <a:lvl9pPr marL="1370941"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9pPr>
    </p:titleStyle>
    <p:bodyStyle>
      <a:lvl1pPr algn="l" defTabSz="666430" rtl="0" eaLnBrk="1" fontAlgn="base" hangingPunct="1">
        <a:spcBef>
          <a:spcPct val="0"/>
        </a:spcBef>
        <a:spcAft>
          <a:spcPts val="900"/>
        </a:spcAft>
        <a:buClr>
          <a:schemeClr val="bg2"/>
        </a:buClr>
        <a:buSzPct val="100000"/>
        <a:buFont typeface="Arial" charset="0"/>
        <a:defRPr sz="1200" b="1" kern="1200">
          <a:solidFill>
            <a:srgbClr val="003C71"/>
          </a:solidFill>
          <a:latin typeface="+mn-lt"/>
          <a:ea typeface="+mn-ea"/>
          <a:cs typeface="+mn-cs"/>
        </a:defRPr>
      </a:lvl1pPr>
      <a:lvl2pPr marL="161847" indent="-160657" algn="l" defTabSz="666430" rtl="0" eaLnBrk="1" fontAlgn="base" hangingPunct="1">
        <a:spcBef>
          <a:spcPct val="0"/>
        </a:spcBef>
        <a:spcAft>
          <a:spcPct val="50000"/>
        </a:spcAft>
        <a:buClr>
          <a:schemeClr val="accent2"/>
        </a:buClr>
        <a:buFont typeface="Arial" charset="0"/>
        <a:buChar char="●"/>
        <a:defRPr sz="1125" kern="1200">
          <a:solidFill>
            <a:srgbClr val="336699"/>
          </a:solidFill>
          <a:latin typeface="+mn-lt"/>
          <a:ea typeface="+mn-ea"/>
          <a:cs typeface="+mn-cs"/>
        </a:defRPr>
      </a:lvl2pPr>
      <a:lvl3pPr marL="379627" indent="-163038"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3pPr>
      <a:lvl4pPr marL="597408" indent="-134476" algn="l" defTabSz="666430" rtl="0" eaLnBrk="1" fontAlgn="base" hangingPunct="1">
        <a:spcBef>
          <a:spcPct val="0"/>
        </a:spcBef>
        <a:spcAft>
          <a:spcPct val="50000"/>
        </a:spcAft>
        <a:buClr>
          <a:srgbClr val="333333"/>
        </a:buClr>
        <a:buFont typeface="Wingdings" pitchFamily="2" charset="2"/>
        <a:buChar char="§"/>
        <a:defRPr sz="900" kern="1200">
          <a:solidFill>
            <a:srgbClr val="003C71"/>
          </a:solidFill>
          <a:latin typeface="+mn-lt"/>
          <a:ea typeface="+mn-ea"/>
          <a:cs typeface="+mn-cs"/>
        </a:defRPr>
      </a:lvl4pPr>
      <a:lvl5pPr marL="811616" indent="-115436"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5pPr>
      <a:lvl6pPr marL="1885045"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7780"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0516"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252"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470" rtl="0" eaLnBrk="1" latinLnBrk="0" hangingPunct="1">
        <a:defRPr sz="1350" kern="1200">
          <a:solidFill>
            <a:schemeClr val="tx1"/>
          </a:solidFill>
          <a:latin typeface="+mn-lt"/>
          <a:ea typeface="+mn-ea"/>
          <a:cs typeface="+mn-cs"/>
        </a:defRPr>
      </a:lvl1pPr>
      <a:lvl2pPr marL="342735" algn="l" defTabSz="685470" rtl="0" eaLnBrk="1" latinLnBrk="0" hangingPunct="1">
        <a:defRPr sz="1350" kern="1200">
          <a:solidFill>
            <a:schemeClr val="tx1"/>
          </a:solidFill>
          <a:latin typeface="+mn-lt"/>
          <a:ea typeface="+mn-ea"/>
          <a:cs typeface="+mn-cs"/>
        </a:defRPr>
      </a:lvl2pPr>
      <a:lvl3pPr marL="685470" algn="l" defTabSz="685470" rtl="0" eaLnBrk="1" latinLnBrk="0" hangingPunct="1">
        <a:defRPr sz="1350" kern="1200">
          <a:solidFill>
            <a:schemeClr val="tx1"/>
          </a:solidFill>
          <a:latin typeface="+mn-lt"/>
          <a:ea typeface="+mn-ea"/>
          <a:cs typeface="+mn-cs"/>
        </a:defRPr>
      </a:lvl3pPr>
      <a:lvl4pPr marL="1028205" algn="l" defTabSz="685470" rtl="0" eaLnBrk="1" latinLnBrk="0" hangingPunct="1">
        <a:defRPr sz="1350" kern="1200">
          <a:solidFill>
            <a:schemeClr val="tx1"/>
          </a:solidFill>
          <a:latin typeface="+mn-lt"/>
          <a:ea typeface="+mn-ea"/>
          <a:cs typeface="+mn-cs"/>
        </a:defRPr>
      </a:lvl4pPr>
      <a:lvl5pPr marL="1370941" algn="l" defTabSz="685470" rtl="0" eaLnBrk="1" latinLnBrk="0" hangingPunct="1">
        <a:defRPr sz="1350" kern="1200">
          <a:solidFill>
            <a:schemeClr val="tx1"/>
          </a:solidFill>
          <a:latin typeface="+mn-lt"/>
          <a:ea typeface="+mn-ea"/>
          <a:cs typeface="+mn-cs"/>
        </a:defRPr>
      </a:lvl5pPr>
      <a:lvl6pPr marL="1713676" algn="l" defTabSz="685470" rtl="0" eaLnBrk="1" latinLnBrk="0" hangingPunct="1">
        <a:defRPr sz="1350" kern="1200">
          <a:solidFill>
            <a:schemeClr val="tx1"/>
          </a:solidFill>
          <a:latin typeface="+mn-lt"/>
          <a:ea typeface="+mn-ea"/>
          <a:cs typeface="+mn-cs"/>
        </a:defRPr>
      </a:lvl6pPr>
      <a:lvl7pPr marL="2056413" algn="l" defTabSz="685470" rtl="0" eaLnBrk="1" latinLnBrk="0" hangingPunct="1">
        <a:defRPr sz="1350" kern="1200">
          <a:solidFill>
            <a:schemeClr val="tx1"/>
          </a:solidFill>
          <a:latin typeface="+mn-lt"/>
          <a:ea typeface="+mn-ea"/>
          <a:cs typeface="+mn-cs"/>
        </a:defRPr>
      </a:lvl7pPr>
      <a:lvl8pPr marL="2399148" algn="l" defTabSz="685470" rtl="0" eaLnBrk="1" latinLnBrk="0" hangingPunct="1">
        <a:defRPr sz="1350" kern="1200">
          <a:solidFill>
            <a:schemeClr val="tx1"/>
          </a:solidFill>
          <a:latin typeface="+mn-lt"/>
          <a:ea typeface="+mn-ea"/>
          <a:cs typeface="+mn-cs"/>
        </a:defRPr>
      </a:lvl8pPr>
      <a:lvl9pPr marL="2741883" algn="l" defTabSz="68547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70"/>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altLang="en-US"/>
              <a:t>Click to edit Master title style</a:t>
            </a:r>
            <a:endParaRPr lang="en-GB" altLang="en-US"/>
          </a:p>
        </p:txBody>
      </p:sp>
      <p:sp>
        <p:nvSpPr>
          <p:cNvPr id="1028" name="Rectangle 9"/>
          <p:cNvSpPr>
            <a:spLocks noGrp="1" noChangeArrowheads="1"/>
          </p:cNvSpPr>
          <p:nvPr>
            <p:ph type="body" idx="1"/>
          </p:nvPr>
        </p:nvSpPr>
        <p:spPr bwMode="auto">
          <a:xfrm>
            <a:off x="662522"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5" y="6523040"/>
            <a:ext cx="582084" cy="170303"/>
          </a:xfrm>
          <a:prstGeom prst="rect">
            <a:avLst/>
          </a:prstGeom>
          <a:noFill/>
          <a:ln w="9525" algn="ctr">
            <a:noFill/>
            <a:miter lim="800000"/>
            <a:headEnd/>
            <a:tailEnd/>
          </a:ln>
          <a:effectLst/>
        </p:spPr>
        <p:txBody>
          <a:bodyPr>
            <a:spAutoFit/>
          </a:bodyPr>
          <a:lstStyle>
            <a:lvl1pPr defTabSz="684213">
              <a:defRPr>
                <a:solidFill>
                  <a:schemeClr val="tx1"/>
                </a:solidFill>
                <a:latin typeface="Arial" charset="0"/>
                <a:cs typeface="Arial" charset="0"/>
              </a:defRPr>
            </a:lvl1pPr>
            <a:lvl2pPr marL="742950" indent="-285750" defTabSz="684213">
              <a:defRPr>
                <a:solidFill>
                  <a:schemeClr val="tx1"/>
                </a:solidFill>
                <a:latin typeface="Arial" charset="0"/>
                <a:cs typeface="Arial" charset="0"/>
              </a:defRPr>
            </a:lvl2pPr>
            <a:lvl3pPr marL="1143000" indent="-228600" defTabSz="684213">
              <a:defRPr>
                <a:solidFill>
                  <a:schemeClr val="tx1"/>
                </a:solidFill>
                <a:latin typeface="Arial" charset="0"/>
                <a:cs typeface="Arial" charset="0"/>
              </a:defRPr>
            </a:lvl3pPr>
            <a:lvl4pPr marL="1600200" indent="-228600" defTabSz="684213">
              <a:defRPr>
                <a:solidFill>
                  <a:schemeClr val="tx1"/>
                </a:solidFill>
                <a:latin typeface="Arial" charset="0"/>
                <a:cs typeface="Arial" charset="0"/>
              </a:defRPr>
            </a:lvl4pPr>
            <a:lvl5pPr marL="2057400" indent="-228600" defTabSz="684213">
              <a:defRPr>
                <a:solidFill>
                  <a:schemeClr val="tx1"/>
                </a:solidFill>
                <a:latin typeface="Arial" charset="0"/>
                <a:cs typeface="Arial" charset="0"/>
              </a:defRPr>
            </a:lvl5pPr>
            <a:lvl6pPr marL="2514600" indent="-228600" defTabSz="684213" eaLnBrk="0" fontAlgn="base" hangingPunct="0">
              <a:spcBef>
                <a:spcPct val="0"/>
              </a:spcBef>
              <a:spcAft>
                <a:spcPct val="0"/>
              </a:spcAft>
              <a:defRPr>
                <a:solidFill>
                  <a:schemeClr val="tx1"/>
                </a:solidFill>
                <a:latin typeface="Arial" charset="0"/>
                <a:cs typeface="Arial" charset="0"/>
              </a:defRPr>
            </a:lvl6pPr>
            <a:lvl7pPr marL="2971800" indent="-228600" defTabSz="684213" eaLnBrk="0" fontAlgn="base" hangingPunct="0">
              <a:spcBef>
                <a:spcPct val="0"/>
              </a:spcBef>
              <a:spcAft>
                <a:spcPct val="0"/>
              </a:spcAft>
              <a:defRPr>
                <a:solidFill>
                  <a:schemeClr val="tx1"/>
                </a:solidFill>
                <a:latin typeface="Arial" charset="0"/>
                <a:cs typeface="Arial" charset="0"/>
              </a:defRPr>
            </a:lvl7pPr>
            <a:lvl8pPr marL="3429000" indent="-228600" defTabSz="684213" eaLnBrk="0" fontAlgn="base" hangingPunct="0">
              <a:spcBef>
                <a:spcPct val="0"/>
              </a:spcBef>
              <a:spcAft>
                <a:spcPct val="0"/>
              </a:spcAft>
              <a:defRPr>
                <a:solidFill>
                  <a:schemeClr val="tx1"/>
                </a:solidFill>
                <a:latin typeface="Arial" charset="0"/>
                <a:cs typeface="Arial" charset="0"/>
              </a:defRPr>
            </a:lvl8pPr>
            <a:lvl9pPr marL="3886200" indent="-228600" defTabSz="684213"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lnSpc>
                <a:spcPct val="90000"/>
              </a:lnSpc>
              <a:spcBef>
                <a:spcPts val="0"/>
              </a:spcBef>
              <a:spcAft>
                <a:spcPct val="50000"/>
              </a:spcAft>
              <a:buClr>
                <a:srgbClr val="A59D95"/>
              </a:buClr>
              <a:buSzPct val="25000"/>
              <a:buFont typeface="Wingdings" pitchFamily="2" charset="2"/>
              <a:buNone/>
              <a:defRPr/>
            </a:pPr>
            <a:fld id="{8A5C6543-ADB9-45BA-BA42-89815372F924}" type="slidenum">
              <a:rPr lang="en-US" altLang="en-US" sz="563" smtClean="0">
                <a:solidFill>
                  <a:srgbClr val="FFFFFF"/>
                </a:solidFill>
              </a:rPr>
              <a:pPr algn="ctr" eaLnBrk="1" fontAlgn="auto" hangingPunct="1">
                <a:lnSpc>
                  <a:spcPct val="90000"/>
                </a:lnSpc>
                <a:spcBef>
                  <a:spcPts val="0"/>
                </a:spcBef>
                <a:spcAft>
                  <a:spcPct val="50000"/>
                </a:spcAft>
                <a:buClr>
                  <a:srgbClr val="A59D95"/>
                </a:buClr>
                <a:buSzPct val="25000"/>
                <a:buFont typeface="Wingdings" pitchFamily="2" charset="2"/>
                <a:buNone/>
                <a:defRPr/>
              </a:pPr>
              <a:t>‹#›</a:t>
            </a:fld>
            <a:endParaRPr lang="en-US" altLang="en-US" sz="563">
              <a:solidFill>
                <a:srgbClr val="FFFFFF"/>
              </a:solidFill>
            </a:endParaRPr>
          </a:p>
        </p:txBody>
      </p:sp>
      <p:sp>
        <p:nvSpPr>
          <p:cNvPr id="51" name="Footer Placeholder 50"/>
          <p:cNvSpPr>
            <a:spLocks noGrp="1"/>
          </p:cNvSpPr>
          <p:nvPr>
            <p:ph type="ftr" sz="quarter" idx="3"/>
          </p:nvPr>
        </p:nvSpPr>
        <p:spPr>
          <a:xfrm>
            <a:off x="5327653" y="6538913"/>
            <a:ext cx="5088467" cy="196850"/>
          </a:xfrm>
          <a:prstGeom prst="rect">
            <a:avLst/>
          </a:prstGeom>
        </p:spPr>
        <p:txBody>
          <a:bodyPr vert="horz" wrap="square" lIns="91440" tIns="45720" rIns="91440" bIns="45720" numCol="1" anchor="ctr" anchorCtr="0" compatLnSpc="1">
            <a:prstTxWarp prst="textNoShape">
              <a:avLst/>
            </a:prstTxWarp>
          </a:bodyPr>
          <a:lstStyle>
            <a:lvl1pPr>
              <a:lnSpc>
                <a:spcPct val="90000"/>
              </a:lnSpc>
              <a:spcAft>
                <a:spcPct val="50000"/>
              </a:spcAft>
              <a:buClr>
                <a:schemeClr val="bg1"/>
              </a:buClr>
              <a:buSzPct val="25000"/>
              <a:buFont typeface="Wingdings" pitchFamily="2" charset="2"/>
              <a:buNone/>
              <a:defRPr sz="563" smtClean="0">
                <a:solidFill>
                  <a:srgbClr val="FFFFFF"/>
                </a:solidFill>
              </a:defRPr>
            </a:lvl1pPr>
          </a:lstStyle>
          <a:p>
            <a:pPr eaLnBrk="1" fontAlgn="auto" hangingPunct="1">
              <a:spcBef>
                <a:spcPts val="0"/>
              </a:spcBef>
              <a:buClr>
                <a:srgbClr val="A59D95"/>
              </a:buClr>
            </a:pPr>
            <a:endParaRPr lang="en-IE">
              <a:latin typeface="Arial"/>
              <a:cs typeface="Arial"/>
            </a:endParaRPr>
          </a:p>
        </p:txBody>
      </p:sp>
      <p:sp>
        <p:nvSpPr>
          <p:cNvPr id="54" name="Footer Placeholder 50"/>
          <p:cNvSpPr txBox="1">
            <a:spLocks/>
          </p:cNvSpPr>
          <p:nvPr/>
        </p:nvSpPr>
        <p:spPr>
          <a:xfrm>
            <a:off x="10363200" y="6454782"/>
            <a:ext cx="149860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auto" hangingPunct="1">
              <a:lnSpc>
                <a:spcPct val="90000"/>
              </a:lnSpc>
              <a:spcBef>
                <a:spcPts val="0"/>
              </a:spcBef>
              <a:spcAft>
                <a:spcPct val="50000"/>
              </a:spcAft>
              <a:buClr>
                <a:srgbClr val="A59D95"/>
              </a:buClr>
              <a:buSzPct val="25000"/>
              <a:buFont typeface="Wingdings" panose="05000000000000000000" pitchFamily="2" charset="2"/>
              <a:buNone/>
              <a:defRPr/>
            </a:pPr>
            <a:r>
              <a:rPr lang="en-IE" sz="563" b="1">
                <a:solidFill>
                  <a:srgbClr val="FFFFFF"/>
                </a:solidFill>
              </a:rPr>
              <a:t>esbnetworks.ie</a:t>
            </a:r>
          </a:p>
        </p:txBody>
      </p:sp>
      <p:sp>
        <p:nvSpPr>
          <p:cNvPr id="10" name="Rectangle 13"/>
          <p:cNvSpPr>
            <a:spLocks noChangeArrowheads="1"/>
          </p:cNvSpPr>
          <p:nvPr/>
        </p:nvSpPr>
        <p:spPr bwMode="auto">
          <a:xfrm>
            <a:off x="662522"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1" fontAlgn="auto" hangingPunct="1">
              <a:lnSpc>
                <a:spcPct val="90000"/>
              </a:lnSpc>
              <a:spcBef>
                <a:spcPts val="0"/>
              </a:spcBef>
              <a:spcAft>
                <a:spcPct val="50000"/>
              </a:spcAft>
              <a:buClr>
                <a:srgbClr val="A59D95"/>
              </a:buClr>
              <a:buSzPct val="25000"/>
              <a:buFont typeface="Wingdings" panose="05000000000000000000" pitchFamily="2" charset="2"/>
              <a:buNone/>
              <a:defRPr/>
            </a:pPr>
            <a:endParaRPr lang="en-IE" sz="563">
              <a:solidFill>
                <a:srgbClr val="336699"/>
              </a:solidFill>
            </a:endParaRPr>
          </a:p>
        </p:txBody>
      </p:sp>
      <p:pic>
        <p:nvPicPr>
          <p:cNvPr id="1033" name="Picture 24" descr="ESB_Networks_brandma#D1CA6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2298611"/>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Lst>
  <p:txStyles>
    <p:titleStyle>
      <a:lvl1pPr algn="l" rtl="0" eaLnBrk="1" fontAlgn="base" hangingPunct="1">
        <a:spcBef>
          <a:spcPct val="0"/>
        </a:spcBef>
        <a:spcAft>
          <a:spcPct val="0"/>
        </a:spcAft>
        <a:defRPr sz="1350" b="1" kern="1200">
          <a:solidFill>
            <a:schemeClr val="tx1"/>
          </a:solidFill>
          <a:latin typeface="+mj-lt"/>
          <a:ea typeface="+mj-ea"/>
          <a:cs typeface="+mj-cs"/>
        </a:defRPr>
      </a:lvl1pPr>
      <a:lvl2pPr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5pPr>
      <a:lvl6pPr marL="257175"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6pPr>
      <a:lvl7pPr marL="514350"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7pPr>
      <a:lvl8pPr marL="771525"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8pPr>
      <a:lvl9pPr marL="1028700" algn="l" rtl="0" eaLnBrk="1" fontAlgn="base" hangingPunct="1">
        <a:spcBef>
          <a:spcPct val="0"/>
        </a:spcBef>
        <a:spcAft>
          <a:spcPct val="0"/>
        </a:spcAft>
        <a:defRPr sz="1350" b="1">
          <a:solidFill>
            <a:schemeClr val="tx1"/>
          </a:solidFill>
          <a:latin typeface="Arial" panose="020B0604020202020204" pitchFamily="34" charset="0"/>
          <a:cs typeface="Arial" panose="020B0604020202020204" pitchFamily="34" charset="0"/>
        </a:defRPr>
      </a:lvl9pPr>
    </p:titleStyle>
    <p:bodyStyle>
      <a:lvl1pPr algn="l" defTabSz="500063" rtl="0" eaLnBrk="1" fontAlgn="base" hangingPunct="1">
        <a:spcBef>
          <a:spcPct val="0"/>
        </a:spcBef>
        <a:spcAft>
          <a:spcPts val="675"/>
        </a:spcAft>
        <a:buClr>
          <a:schemeClr val="bg2"/>
        </a:buClr>
        <a:buSzPct val="100000"/>
        <a:buFont typeface="Arial" charset="0"/>
        <a:defRPr sz="900" b="1" kern="1200">
          <a:solidFill>
            <a:srgbClr val="003C71"/>
          </a:solidFill>
          <a:latin typeface="+mn-lt"/>
          <a:ea typeface="+mn-ea"/>
          <a:cs typeface="+mn-cs"/>
        </a:defRPr>
      </a:lvl1pPr>
      <a:lvl2pPr marL="121444" indent="-120551" algn="l" defTabSz="500063" rtl="0" eaLnBrk="1" fontAlgn="base" hangingPunct="1">
        <a:spcBef>
          <a:spcPct val="0"/>
        </a:spcBef>
        <a:spcAft>
          <a:spcPct val="50000"/>
        </a:spcAft>
        <a:buClr>
          <a:schemeClr val="accent2"/>
        </a:buClr>
        <a:buFont typeface="Arial" charset="0"/>
        <a:buChar char="●"/>
        <a:defRPr sz="844" kern="1200">
          <a:solidFill>
            <a:srgbClr val="336699"/>
          </a:solidFill>
          <a:latin typeface="+mn-lt"/>
          <a:ea typeface="+mn-ea"/>
          <a:cs typeface="+mn-cs"/>
        </a:defRPr>
      </a:lvl2pPr>
      <a:lvl3pPr marL="284858" indent="-122337" algn="l" defTabSz="500063" rtl="0" eaLnBrk="1" fontAlgn="base" hangingPunct="1">
        <a:spcBef>
          <a:spcPct val="0"/>
        </a:spcBef>
        <a:spcAft>
          <a:spcPct val="50000"/>
        </a:spcAft>
        <a:buClr>
          <a:srgbClr val="333333"/>
        </a:buClr>
        <a:buChar char="–"/>
        <a:defRPr sz="675" kern="1200">
          <a:solidFill>
            <a:srgbClr val="003C71"/>
          </a:solidFill>
          <a:latin typeface="+mn-lt"/>
          <a:ea typeface="+mn-ea"/>
          <a:cs typeface="+mn-cs"/>
        </a:defRPr>
      </a:lvl3pPr>
      <a:lvl4pPr marL="448271" indent="-100906" algn="l" defTabSz="500063" rtl="0" eaLnBrk="1" fontAlgn="base" hangingPunct="1">
        <a:spcBef>
          <a:spcPct val="0"/>
        </a:spcBef>
        <a:spcAft>
          <a:spcPct val="50000"/>
        </a:spcAft>
        <a:buClr>
          <a:srgbClr val="333333"/>
        </a:buClr>
        <a:buFont typeface="Wingdings" pitchFamily="2" charset="2"/>
        <a:buChar char="§"/>
        <a:defRPr sz="675" kern="1200">
          <a:solidFill>
            <a:srgbClr val="003C71"/>
          </a:solidFill>
          <a:latin typeface="+mn-lt"/>
          <a:ea typeface="+mn-ea"/>
          <a:cs typeface="+mn-cs"/>
        </a:defRPr>
      </a:lvl4pPr>
      <a:lvl5pPr marL="609005" indent="-86618" algn="l" defTabSz="500063" rtl="0" eaLnBrk="1" fontAlgn="base" hangingPunct="1">
        <a:spcBef>
          <a:spcPct val="0"/>
        </a:spcBef>
        <a:spcAft>
          <a:spcPct val="50000"/>
        </a:spcAft>
        <a:buClr>
          <a:srgbClr val="333333"/>
        </a:buClr>
        <a:buChar char="-"/>
        <a:defRPr sz="675" kern="1200">
          <a:solidFill>
            <a:srgbClr val="003C7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1026" name="Picture 46" descr="ESB_Powerpoint_design_background3.jpg"/>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64"/>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US" altLang="en-US"/>
              <a:t>Click to edit Master title style</a:t>
            </a:r>
            <a:endParaRPr lang="en-GB" altLang="en-US"/>
          </a:p>
        </p:txBody>
      </p:sp>
      <p:sp>
        <p:nvSpPr>
          <p:cNvPr id="1028" name="Rectangle 9"/>
          <p:cNvSpPr>
            <a:spLocks noGrp="1" noChangeArrowheads="1"/>
          </p:cNvSpPr>
          <p:nvPr>
            <p:ph type="body" idx="1"/>
          </p:nvPr>
        </p:nvSpPr>
        <p:spPr bwMode="auto">
          <a:xfrm>
            <a:off x="662518"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charset="0"/>
                <a:cs typeface="Arial" charset="0"/>
              </a:defRPr>
            </a:lvl1pPr>
            <a:lvl2pPr marL="742950" indent="-285750" defTabSz="684213">
              <a:defRPr>
                <a:solidFill>
                  <a:schemeClr val="tx1"/>
                </a:solidFill>
                <a:latin typeface="Arial" charset="0"/>
                <a:cs typeface="Arial" charset="0"/>
              </a:defRPr>
            </a:lvl2pPr>
            <a:lvl3pPr marL="1143000" indent="-228600" defTabSz="684213">
              <a:defRPr>
                <a:solidFill>
                  <a:schemeClr val="tx1"/>
                </a:solidFill>
                <a:latin typeface="Arial" charset="0"/>
                <a:cs typeface="Arial" charset="0"/>
              </a:defRPr>
            </a:lvl3pPr>
            <a:lvl4pPr marL="1600200" indent="-228600" defTabSz="684213">
              <a:defRPr>
                <a:solidFill>
                  <a:schemeClr val="tx1"/>
                </a:solidFill>
                <a:latin typeface="Arial" charset="0"/>
                <a:cs typeface="Arial" charset="0"/>
              </a:defRPr>
            </a:lvl4pPr>
            <a:lvl5pPr marL="2057400" indent="-228600" defTabSz="684213">
              <a:defRPr>
                <a:solidFill>
                  <a:schemeClr val="tx1"/>
                </a:solidFill>
                <a:latin typeface="Arial" charset="0"/>
                <a:cs typeface="Arial" charset="0"/>
              </a:defRPr>
            </a:lvl5pPr>
            <a:lvl6pPr marL="2514600" indent="-228600" defTabSz="684213" eaLnBrk="0" fontAlgn="base" hangingPunct="0">
              <a:spcBef>
                <a:spcPct val="0"/>
              </a:spcBef>
              <a:spcAft>
                <a:spcPct val="0"/>
              </a:spcAft>
              <a:defRPr>
                <a:solidFill>
                  <a:schemeClr val="tx1"/>
                </a:solidFill>
                <a:latin typeface="Arial" charset="0"/>
                <a:cs typeface="Arial" charset="0"/>
              </a:defRPr>
            </a:lvl6pPr>
            <a:lvl7pPr marL="2971800" indent="-228600" defTabSz="684213" eaLnBrk="0" fontAlgn="base" hangingPunct="0">
              <a:spcBef>
                <a:spcPct val="0"/>
              </a:spcBef>
              <a:spcAft>
                <a:spcPct val="0"/>
              </a:spcAft>
              <a:defRPr>
                <a:solidFill>
                  <a:schemeClr val="tx1"/>
                </a:solidFill>
                <a:latin typeface="Arial" charset="0"/>
                <a:cs typeface="Arial" charset="0"/>
              </a:defRPr>
            </a:lvl7pPr>
            <a:lvl8pPr marL="3429000" indent="-228600" defTabSz="684213" eaLnBrk="0" fontAlgn="base" hangingPunct="0">
              <a:spcBef>
                <a:spcPct val="0"/>
              </a:spcBef>
              <a:spcAft>
                <a:spcPct val="0"/>
              </a:spcAft>
              <a:defRPr>
                <a:solidFill>
                  <a:schemeClr val="tx1"/>
                </a:solidFill>
                <a:latin typeface="Arial" charset="0"/>
                <a:cs typeface="Arial" charset="0"/>
              </a:defRPr>
            </a:lvl8pPr>
            <a:lvl9pPr marL="3886200" indent="-228600" defTabSz="684213"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lnSpc>
                <a:spcPct val="90000"/>
              </a:lnSpc>
              <a:spcBef>
                <a:spcPts val="0"/>
              </a:spcBef>
              <a:spcAft>
                <a:spcPct val="50000"/>
              </a:spcAft>
              <a:buClr>
                <a:srgbClr val="A59D95"/>
              </a:buClr>
              <a:buSzPct val="25000"/>
              <a:buFont typeface="Wingdings" pitchFamily="2" charset="2"/>
              <a:buNone/>
              <a:defRPr/>
            </a:pPr>
            <a:fld id="{8A5C6543-ADB9-45BA-BA42-89815372F924}" type="slidenum">
              <a:rPr lang="en-US" altLang="en-US" sz="1000" smtClean="0">
                <a:solidFill>
                  <a:srgbClr val="FFFFFF"/>
                </a:solidFill>
              </a:rPr>
              <a:pPr algn="ctr" eaLnBrk="1" fontAlgn="auto" hangingPunct="1">
                <a:lnSpc>
                  <a:spcPct val="90000"/>
                </a:lnSpc>
                <a:spcBef>
                  <a:spcPts val="0"/>
                </a:spcBef>
                <a:spcAft>
                  <a:spcPct val="50000"/>
                </a:spcAft>
                <a:buClr>
                  <a:srgbClr val="A59D95"/>
                </a:buClr>
                <a:buSzPct val="25000"/>
                <a:buFont typeface="Wingdings" pitchFamily="2" charset="2"/>
                <a:buNone/>
                <a:defRPr/>
              </a:pPr>
              <a:t>‹#›</a:t>
            </a:fld>
            <a:endParaRPr lang="en-US" altLang="en-US" sz="1000">
              <a:solidFill>
                <a:srgbClr val="FFFFFF"/>
              </a:solidFill>
            </a:endParaRPr>
          </a:p>
        </p:txBody>
      </p:sp>
      <p:sp>
        <p:nvSpPr>
          <p:cNvPr id="54" name="Footer Placeholder 50"/>
          <p:cNvSpPr txBox="1">
            <a:spLocks/>
          </p:cNvSpPr>
          <p:nvPr/>
        </p:nvSpPr>
        <p:spPr>
          <a:xfrm>
            <a:off x="10363200" y="6454776"/>
            <a:ext cx="149860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fontAlgn="auto" hangingPunct="1">
              <a:lnSpc>
                <a:spcPct val="90000"/>
              </a:lnSpc>
              <a:spcBef>
                <a:spcPts val="0"/>
              </a:spcBef>
              <a:spcAft>
                <a:spcPct val="50000"/>
              </a:spcAft>
              <a:buClr>
                <a:srgbClr val="A59D95"/>
              </a:buClr>
              <a:buSzPct val="25000"/>
              <a:buFont typeface="Wingdings" panose="05000000000000000000" pitchFamily="2" charset="2"/>
              <a:buNone/>
              <a:defRPr/>
            </a:pPr>
            <a:r>
              <a:rPr lang="en-IE" sz="1000" b="1">
                <a:solidFill>
                  <a:srgbClr val="FFFFFF"/>
                </a:solidFill>
              </a:rPr>
              <a:t>esbnetworks.ie</a:t>
            </a:r>
          </a:p>
        </p:txBody>
      </p:sp>
      <p:sp>
        <p:nvSpPr>
          <p:cNvPr id="10" name="Rectangle 13"/>
          <p:cNvSpPr>
            <a:spLocks noChangeArrowheads="1"/>
          </p:cNvSpPr>
          <p:nvPr/>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1" fontAlgn="auto" hangingPunct="1">
              <a:lnSpc>
                <a:spcPct val="90000"/>
              </a:lnSpc>
              <a:spcBef>
                <a:spcPts val="0"/>
              </a:spcBef>
              <a:spcAft>
                <a:spcPct val="50000"/>
              </a:spcAft>
              <a:buClr>
                <a:srgbClr val="A59D95"/>
              </a:buClr>
              <a:buSzPct val="25000"/>
              <a:buFont typeface="Wingdings" panose="05000000000000000000" pitchFamily="2" charset="2"/>
              <a:buNone/>
              <a:defRPr/>
            </a:pPr>
            <a:endParaRPr lang="en-IE" sz="1000">
              <a:solidFill>
                <a:srgbClr val="336699"/>
              </a:solidFill>
            </a:endParaRPr>
          </a:p>
        </p:txBody>
      </p:sp>
      <p:pic>
        <p:nvPicPr>
          <p:cNvPr id="1033" name="Picture 24" descr="ESB_Networks_brandma#D1CA6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50"/>
          <p:cNvSpPr>
            <a:spLocks noGrp="1"/>
          </p:cNvSpPr>
          <p:nvPr>
            <p:ph type="ftr" sz="quarter" idx="3"/>
          </p:nvPr>
        </p:nvSpPr>
        <p:spPr>
          <a:xfrm>
            <a:off x="10512426" y="6653213"/>
            <a:ext cx="1584325" cy="196850"/>
          </a:xfrm>
          <a:prstGeom prst="rect">
            <a:avLst/>
          </a:prstGeom>
        </p:spPr>
        <p:txBody>
          <a:bodyPr vert="horz" wrap="square" lIns="91440" tIns="45720" rIns="91440" bIns="45720" numCol="1" anchor="ctr" anchorCtr="0" compatLnSpc="1">
            <a:prstTxWarp prst="textNoShape">
              <a:avLst/>
            </a:prstTxWarp>
          </a:bodyPr>
          <a:lstStyle>
            <a:lvl1pPr>
              <a:lnSpc>
                <a:spcPct val="90000"/>
              </a:lnSpc>
              <a:spcAft>
                <a:spcPct val="50000"/>
              </a:spcAft>
              <a:buClr>
                <a:schemeClr val="bg1"/>
              </a:buClr>
              <a:buSzPct val="25000"/>
              <a:buFont typeface="Wingdings" pitchFamily="2" charset="2"/>
              <a:buNone/>
              <a:defRPr sz="600" i="1" smtClean="0">
                <a:solidFill>
                  <a:schemeClr val="accent1">
                    <a:lumMod val="20000"/>
                    <a:lumOff val="80000"/>
                  </a:schemeClr>
                </a:solidFill>
              </a:defRPr>
            </a:lvl1pPr>
          </a:lstStyle>
          <a:p>
            <a:pPr eaLnBrk="1" fontAlgn="auto" hangingPunct="1">
              <a:spcBef>
                <a:spcPts val="0"/>
              </a:spcBef>
              <a:buClr>
                <a:srgbClr val="A59D95"/>
              </a:buClr>
            </a:pPr>
            <a:r>
              <a:rPr lang="en-GB">
                <a:solidFill>
                  <a:srgbClr val="003C71">
                    <a:lumMod val="20000"/>
                    <a:lumOff val="80000"/>
                  </a:srgbClr>
                </a:solidFill>
                <a:latin typeface="Arial"/>
                <a:cs typeface="Arial"/>
              </a:rPr>
              <a:t>Template Version 1.0</a:t>
            </a:r>
            <a:endParaRPr lang="en-IE">
              <a:solidFill>
                <a:srgbClr val="003C71">
                  <a:lumMod val="20000"/>
                  <a:lumOff val="80000"/>
                </a:srgbClr>
              </a:solidFill>
              <a:latin typeface="Arial"/>
              <a:cs typeface="Arial"/>
            </a:endParaRPr>
          </a:p>
        </p:txBody>
      </p:sp>
    </p:spTree>
    <p:extLst>
      <p:ext uri="{BB962C8B-B14F-4D97-AF65-F5344CB8AC3E}">
        <p14:creationId xmlns:p14="http://schemas.microsoft.com/office/powerpoint/2010/main" val="3068104740"/>
      </p:ext>
    </p:extLst>
  </p:cSld>
  <p:clrMap bg1="lt1" tx1="dk1" bg2="lt2" tx2="dk2" accent1="accent1" accent2="accent2" accent3="accent3" accent4="accent4" accent5="accent5" accent6="accent6" hlink="hlink" folHlink="folHlink"/>
  <p:sldLayoutIdLst>
    <p:sldLayoutId id="2147484136" r:id="rId1"/>
    <p:sldLayoutId id="2147484137" r:id="rId2"/>
    <p:sldLayoutId id="2147484138" r:id="rId3"/>
    <p:sldLayoutId id="2147484139" r:id="rId4"/>
    <p:sldLayoutId id="2147484140" r:id="rId5"/>
    <p:sldLayoutId id="2147484141" r:id="rId6"/>
    <p:sldLayoutId id="2147484142" r:id="rId7"/>
    <p:sldLayoutId id="2147484143" r:id="rId8"/>
    <p:sldLayoutId id="2147484144" r:id="rId9"/>
    <p:sldLayoutId id="2147484145" r:id="rId10"/>
    <p:sldLayoutId id="2147484146" r:id="rId11"/>
    <p:sldLayoutId id="2147484147" r:id="rId12"/>
    <p:sldLayoutId id="2147484148" r:id="rId13"/>
    <p:sldLayoutId id="2147484149" r:id="rId14"/>
    <p:sldLayoutId id="2147484150" r:id="rId15"/>
    <p:sldLayoutId id="2147484151" r:id="rId16"/>
  </p:sldLayoutIdLst>
  <p:txStyles>
    <p:titleStyle>
      <a:lvl1pPr algn="l" rtl="0" eaLnBrk="1" fontAlgn="base" hangingPunct="1">
        <a:spcBef>
          <a:spcPct val="0"/>
        </a:spcBef>
        <a:spcAft>
          <a:spcPct val="0"/>
        </a:spcAft>
        <a:defRPr sz="2400" b="1" kern="1200">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5pPr>
      <a:lvl6pPr marL="4572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algn="l" defTabSz="889000" rtl="0" eaLnBrk="1" fontAlgn="base" hangingPunct="1">
        <a:spcBef>
          <a:spcPct val="0"/>
        </a:spcBef>
        <a:spcAft>
          <a:spcPts val="1200"/>
        </a:spcAft>
        <a:buClr>
          <a:schemeClr val="bg2"/>
        </a:buClr>
        <a:buSzPct val="100000"/>
        <a:buFont typeface="Arial" charset="0"/>
        <a:defRPr sz="1600" b="1" kern="1200">
          <a:solidFill>
            <a:srgbClr val="003C71"/>
          </a:solidFill>
          <a:latin typeface="+mn-lt"/>
          <a:ea typeface="+mn-ea"/>
          <a:cs typeface="+mn-cs"/>
        </a:defRPr>
      </a:lvl1pPr>
      <a:lvl2pPr marL="215900" indent="-214313" algn="l" defTabSz="889000" rtl="0" eaLnBrk="1" fontAlgn="base" hangingPunct="1">
        <a:spcBef>
          <a:spcPct val="0"/>
        </a:spcBef>
        <a:spcAft>
          <a:spcPct val="50000"/>
        </a:spcAft>
        <a:buClr>
          <a:schemeClr val="accent2"/>
        </a:buClr>
        <a:buFont typeface="Arial" charset="0"/>
        <a:buChar char="●"/>
        <a:defRPr sz="1500" kern="1200">
          <a:solidFill>
            <a:srgbClr val="336699"/>
          </a:solidFill>
          <a:latin typeface="+mn-lt"/>
          <a:ea typeface="+mn-ea"/>
          <a:cs typeface="+mn-cs"/>
        </a:defRPr>
      </a:lvl2pPr>
      <a:lvl3pPr marL="506413" indent="-2174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3pPr>
      <a:lvl4pPr marL="796925" indent="-179388" algn="l" defTabSz="889000" rtl="0" eaLnBrk="1" fontAlgn="base" hangingPunct="1">
        <a:spcBef>
          <a:spcPct val="0"/>
        </a:spcBef>
        <a:spcAft>
          <a:spcPct val="50000"/>
        </a:spcAft>
        <a:buClr>
          <a:srgbClr val="333333"/>
        </a:buClr>
        <a:buFont typeface="Wingdings" pitchFamily="2" charset="2"/>
        <a:buChar char="§"/>
        <a:defRPr sz="1200" kern="1200">
          <a:solidFill>
            <a:srgbClr val="003C71"/>
          </a:solidFill>
          <a:latin typeface="+mn-lt"/>
          <a:ea typeface="+mn-ea"/>
          <a:cs typeface="+mn-cs"/>
        </a:defRPr>
      </a:lvl4pPr>
      <a:lvl5pPr marL="1082675" indent="-153988" algn="l" defTabSz="889000" rtl="0" eaLnBrk="1" fontAlgn="base" hangingPunct="1">
        <a:spcBef>
          <a:spcPct val="0"/>
        </a:spcBef>
        <a:spcAft>
          <a:spcPct val="50000"/>
        </a:spcAft>
        <a:buClr>
          <a:srgbClr val="333333"/>
        </a:buClr>
        <a:buChar char="-"/>
        <a:defRPr sz="1200" kern="1200">
          <a:solidFill>
            <a:srgbClr val="003C7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589" y="1590"/>
                        <a:ext cx="1587" cy="1587"/>
                      </a:xfrm>
                      <a:prstGeom prst="rect">
                        <a:avLst/>
                      </a:prstGeom>
                    </p:spPr>
                  </p:pic>
                </p:oleObj>
              </mc:Fallback>
            </mc:AlternateContent>
          </a:graphicData>
        </a:graphic>
      </p:graphicFrame>
      <p:pic>
        <p:nvPicPr>
          <p:cNvPr id="1026" name="Picture 46" descr="ESB_Powerpoint_design_background3.jp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73"/>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26" rIns="118851" bIns="59426" numCol="1" anchor="t" anchorCtr="0" compatLnSpc="1">
            <a:prstTxWarp prst="textNoShape">
              <a:avLst/>
            </a:prstTxWarp>
          </a:bodyPr>
          <a:lstStyle/>
          <a:p>
            <a:pPr lvl="0"/>
            <a:r>
              <a:rPr lang="en-US" altLang="en-US"/>
              <a:t>Click to edit Master title style</a:t>
            </a:r>
            <a:endParaRPr lang="en-GB" altLang="en-US"/>
          </a:p>
        </p:txBody>
      </p:sp>
      <p:sp>
        <p:nvSpPr>
          <p:cNvPr id="1028" name="Rectangle 9"/>
          <p:cNvSpPr>
            <a:spLocks noGrp="1" noChangeArrowheads="1"/>
          </p:cNvSpPr>
          <p:nvPr>
            <p:ph type="body" idx="1"/>
          </p:nvPr>
        </p:nvSpPr>
        <p:spPr bwMode="auto">
          <a:xfrm>
            <a:off x="662522" y="1111251"/>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69" rIns="88934" bIns="4446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5" y="6523039"/>
            <a:ext cx="582084" cy="173094"/>
          </a:xfrm>
          <a:prstGeom prst="rect">
            <a:avLst/>
          </a:prstGeom>
          <a:noFill/>
          <a:ln w="9525" algn="ctr">
            <a:noFill/>
            <a:miter lim="800000"/>
            <a:headEnd/>
            <a:tailEnd/>
          </a:ln>
          <a:effectLst/>
        </p:spPr>
        <p:txBody>
          <a:bodyPr lIns="68547" tIns="34275" rIns="68547" bIns="34275">
            <a:spAutoFit/>
          </a:bodyPr>
          <a:lstStyle>
            <a:lvl1pPr defTabSz="684213">
              <a:defRPr>
                <a:solidFill>
                  <a:schemeClr val="tx1"/>
                </a:solidFill>
                <a:latin typeface="Arial" charset="0"/>
                <a:cs typeface="Arial" charset="0"/>
              </a:defRPr>
            </a:lvl1pPr>
            <a:lvl2pPr marL="742950" indent="-285750" defTabSz="684213">
              <a:defRPr>
                <a:solidFill>
                  <a:schemeClr val="tx1"/>
                </a:solidFill>
                <a:latin typeface="Arial" charset="0"/>
                <a:cs typeface="Arial" charset="0"/>
              </a:defRPr>
            </a:lvl2pPr>
            <a:lvl3pPr marL="1143000" indent="-228600" defTabSz="684213">
              <a:defRPr>
                <a:solidFill>
                  <a:schemeClr val="tx1"/>
                </a:solidFill>
                <a:latin typeface="Arial" charset="0"/>
                <a:cs typeface="Arial" charset="0"/>
              </a:defRPr>
            </a:lvl3pPr>
            <a:lvl4pPr marL="1600200" indent="-228600" defTabSz="684213">
              <a:defRPr>
                <a:solidFill>
                  <a:schemeClr val="tx1"/>
                </a:solidFill>
                <a:latin typeface="Arial" charset="0"/>
                <a:cs typeface="Arial" charset="0"/>
              </a:defRPr>
            </a:lvl4pPr>
            <a:lvl5pPr marL="2057400" indent="-228600" defTabSz="684213">
              <a:defRPr>
                <a:solidFill>
                  <a:schemeClr val="tx1"/>
                </a:solidFill>
                <a:latin typeface="Arial" charset="0"/>
                <a:cs typeface="Arial" charset="0"/>
              </a:defRPr>
            </a:lvl5pPr>
            <a:lvl6pPr marL="2514600" indent="-228600" defTabSz="684213" eaLnBrk="0" fontAlgn="base" hangingPunct="0">
              <a:spcBef>
                <a:spcPct val="0"/>
              </a:spcBef>
              <a:spcAft>
                <a:spcPct val="0"/>
              </a:spcAft>
              <a:defRPr>
                <a:solidFill>
                  <a:schemeClr val="tx1"/>
                </a:solidFill>
                <a:latin typeface="Arial" charset="0"/>
                <a:cs typeface="Arial" charset="0"/>
              </a:defRPr>
            </a:lvl6pPr>
            <a:lvl7pPr marL="2971800" indent="-228600" defTabSz="684213" eaLnBrk="0" fontAlgn="base" hangingPunct="0">
              <a:spcBef>
                <a:spcPct val="0"/>
              </a:spcBef>
              <a:spcAft>
                <a:spcPct val="0"/>
              </a:spcAft>
              <a:defRPr>
                <a:solidFill>
                  <a:schemeClr val="tx1"/>
                </a:solidFill>
                <a:latin typeface="Arial" charset="0"/>
                <a:cs typeface="Arial" charset="0"/>
              </a:defRPr>
            </a:lvl7pPr>
            <a:lvl8pPr marL="3429000" indent="-228600" defTabSz="684213" eaLnBrk="0" fontAlgn="base" hangingPunct="0">
              <a:spcBef>
                <a:spcPct val="0"/>
              </a:spcBef>
              <a:spcAft>
                <a:spcPct val="0"/>
              </a:spcAft>
              <a:defRPr>
                <a:solidFill>
                  <a:schemeClr val="tx1"/>
                </a:solidFill>
                <a:latin typeface="Arial" charset="0"/>
                <a:cs typeface="Arial" charset="0"/>
              </a:defRPr>
            </a:lvl8pPr>
            <a:lvl9pPr marL="3886200" indent="-228600" defTabSz="684213" eaLnBrk="0" fontAlgn="base" hangingPunct="0">
              <a:spcBef>
                <a:spcPct val="0"/>
              </a:spcBef>
              <a:spcAft>
                <a:spcPct val="0"/>
              </a:spcAft>
              <a:defRPr>
                <a:solidFill>
                  <a:schemeClr val="tx1"/>
                </a:solidFill>
                <a:latin typeface="Arial" charset="0"/>
                <a:cs typeface="Arial" charset="0"/>
              </a:defRPr>
            </a:lvl9pPr>
          </a:lstStyle>
          <a:p>
            <a:pPr algn="ctr" eaLnBrk="1" fontAlgn="auto" hangingPunct="1">
              <a:lnSpc>
                <a:spcPct val="90000"/>
              </a:lnSpc>
              <a:spcBef>
                <a:spcPts val="0"/>
              </a:spcBef>
              <a:spcAft>
                <a:spcPct val="50000"/>
              </a:spcAft>
              <a:buClr>
                <a:srgbClr val="A59D95"/>
              </a:buClr>
              <a:buSzPct val="25000"/>
              <a:buFont typeface="Wingdings" pitchFamily="2" charset="2"/>
              <a:buNone/>
              <a:defRPr/>
            </a:pPr>
            <a:fld id="{8A5C6543-ADB9-45BA-BA42-89815372F924}" type="slidenum">
              <a:rPr lang="en-US" altLang="en-US" sz="750" smtClean="0">
                <a:solidFill>
                  <a:srgbClr val="FFFFFF"/>
                </a:solidFill>
              </a:rPr>
              <a:pPr algn="ctr" eaLnBrk="1" fontAlgn="auto" hangingPunct="1">
                <a:lnSpc>
                  <a:spcPct val="90000"/>
                </a:lnSpc>
                <a:spcBef>
                  <a:spcPts val="0"/>
                </a:spcBef>
                <a:spcAft>
                  <a:spcPct val="50000"/>
                </a:spcAft>
                <a:buClr>
                  <a:srgbClr val="A59D95"/>
                </a:buClr>
                <a:buSzPct val="25000"/>
                <a:buFont typeface="Wingdings" pitchFamily="2" charset="2"/>
                <a:buNone/>
                <a:defRPr/>
              </a:pPr>
              <a:t>‹#›</a:t>
            </a:fld>
            <a:endParaRPr lang="en-US" altLang="en-US" sz="750">
              <a:solidFill>
                <a:srgbClr val="FFFFFF"/>
              </a:solidFill>
            </a:endParaRPr>
          </a:p>
        </p:txBody>
      </p:sp>
      <p:sp>
        <p:nvSpPr>
          <p:cNvPr id="51" name="Footer Placeholder 50"/>
          <p:cNvSpPr>
            <a:spLocks noGrp="1"/>
          </p:cNvSpPr>
          <p:nvPr>
            <p:ph type="ftr" sz="quarter" idx="3"/>
          </p:nvPr>
        </p:nvSpPr>
        <p:spPr>
          <a:xfrm>
            <a:off x="5327653" y="6538913"/>
            <a:ext cx="5088467" cy="196850"/>
          </a:xfrm>
          <a:prstGeom prst="rect">
            <a:avLst/>
          </a:prstGeom>
        </p:spPr>
        <p:txBody>
          <a:bodyPr vert="horz" wrap="square" lIns="91396" tIns="45700" rIns="91396" bIns="45700" numCol="1" anchor="ctr" anchorCtr="0" compatLnSpc="1">
            <a:prstTxWarp prst="textNoShape">
              <a:avLst/>
            </a:prstTxWarp>
          </a:bodyPr>
          <a:lstStyle>
            <a:lvl1pPr>
              <a:lnSpc>
                <a:spcPct val="90000"/>
              </a:lnSpc>
              <a:spcAft>
                <a:spcPct val="50000"/>
              </a:spcAft>
              <a:buClr>
                <a:schemeClr val="bg1"/>
              </a:buClr>
              <a:buSzPct val="25000"/>
              <a:buFont typeface="Wingdings" pitchFamily="2" charset="2"/>
              <a:buNone/>
              <a:defRPr sz="750" smtClean="0">
                <a:solidFill>
                  <a:srgbClr val="FFFFFF"/>
                </a:solidFill>
              </a:defRPr>
            </a:lvl1pPr>
          </a:lstStyle>
          <a:p>
            <a:pPr defTabSz="685470" eaLnBrk="1" fontAlgn="auto" hangingPunct="1">
              <a:spcBef>
                <a:spcPts val="0"/>
              </a:spcBef>
              <a:buClr>
                <a:srgbClr val="A59D95"/>
              </a:buClr>
            </a:pPr>
            <a:endParaRPr lang="en-IE">
              <a:latin typeface="Arial"/>
              <a:cs typeface="Arial"/>
            </a:endParaRPr>
          </a:p>
        </p:txBody>
      </p:sp>
      <p:sp>
        <p:nvSpPr>
          <p:cNvPr id="54" name="Footer Placeholder 50"/>
          <p:cNvSpPr txBox="1">
            <a:spLocks/>
          </p:cNvSpPr>
          <p:nvPr/>
        </p:nvSpPr>
        <p:spPr>
          <a:xfrm>
            <a:off x="10363200" y="6454830"/>
            <a:ext cx="1498600" cy="365125"/>
          </a:xfrm>
          <a:prstGeom prst="rect">
            <a:avLst/>
          </a:prstGeom>
        </p:spPr>
        <p:txBody>
          <a:bodyPr lIns="68547" tIns="34275" rIns="68547" bIns="34275"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470" eaLnBrk="1" fontAlgn="auto" hangingPunct="1">
              <a:lnSpc>
                <a:spcPct val="90000"/>
              </a:lnSpc>
              <a:spcBef>
                <a:spcPts val="0"/>
              </a:spcBef>
              <a:spcAft>
                <a:spcPct val="50000"/>
              </a:spcAft>
              <a:buClr>
                <a:srgbClr val="A59D95"/>
              </a:buClr>
              <a:buSzPct val="25000"/>
              <a:buFont typeface="Wingdings" panose="05000000000000000000" pitchFamily="2" charset="2"/>
              <a:buNone/>
              <a:defRPr/>
            </a:pPr>
            <a:r>
              <a:rPr lang="en-IE" sz="750" b="1">
                <a:solidFill>
                  <a:srgbClr val="FFFFFF"/>
                </a:solidFill>
              </a:rPr>
              <a:t>esbnetworks.ie</a:t>
            </a:r>
          </a:p>
        </p:txBody>
      </p:sp>
      <p:sp>
        <p:nvSpPr>
          <p:cNvPr id="10" name="Rectangle 13"/>
          <p:cNvSpPr>
            <a:spLocks noChangeArrowheads="1"/>
          </p:cNvSpPr>
          <p:nvPr/>
        </p:nvSpPr>
        <p:spPr bwMode="auto">
          <a:xfrm>
            <a:off x="662522"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lIns="68547" tIns="34275" rIns="68547" bIns="34275"/>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1" fontAlgn="auto" hangingPunct="1">
              <a:lnSpc>
                <a:spcPct val="90000"/>
              </a:lnSpc>
              <a:spcBef>
                <a:spcPts val="0"/>
              </a:spcBef>
              <a:spcAft>
                <a:spcPct val="50000"/>
              </a:spcAft>
              <a:buClr>
                <a:srgbClr val="A59D95"/>
              </a:buClr>
              <a:buSzPct val="25000"/>
              <a:buFont typeface="Wingdings" panose="05000000000000000000" pitchFamily="2" charset="2"/>
              <a:buNone/>
              <a:defRPr/>
            </a:pPr>
            <a:endParaRPr lang="en-IE" sz="750">
              <a:solidFill>
                <a:srgbClr val="336699"/>
              </a:solidFill>
            </a:endParaRPr>
          </a:p>
        </p:txBody>
      </p:sp>
      <p:pic>
        <p:nvPicPr>
          <p:cNvPr id="1033" name="Picture 24" descr="ESB_Networks_brandma#D1CA6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6140719"/>
      </p:ext>
    </p:extLst>
  </p:cSld>
  <p:clrMap bg1="lt1" tx1="dk1" bg2="lt2" tx2="dk2" accent1="accent1" accent2="accent2" accent3="accent3" accent4="accent4" accent5="accent5" accent6="accent6" hlink="hlink" folHlink="folHlink"/>
  <p:sldLayoutIdLst>
    <p:sldLayoutId id="2147484153" r:id="rId1"/>
    <p:sldLayoutId id="2147484154" r:id="rId2"/>
    <p:sldLayoutId id="2147484155" r:id="rId3"/>
    <p:sldLayoutId id="2147484156" r:id="rId4"/>
    <p:sldLayoutId id="2147484157" r:id="rId5"/>
    <p:sldLayoutId id="2147484158" r:id="rId6"/>
    <p:sldLayoutId id="2147484159" r:id="rId7"/>
    <p:sldLayoutId id="2147484160" r:id="rId8"/>
    <p:sldLayoutId id="2147484161" r:id="rId9"/>
    <p:sldLayoutId id="2147484162" r:id="rId10"/>
    <p:sldLayoutId id="2147484163" r:id="rId11"/>
    <p:sldLayoutId id="2147484164" r:id="rId12"/>
    <p:sldLayoutId id="2147484165" r:id="rId13"/>
    <p:sldLayoutId id="2147484166" r:id="rId14"/>
    <p:sldLayoutId id="2147484167" r:id="rId15"/>
    <p:sldLayoutId id="2147484168" r:id="rId16"/>
  </p:sldLayoutIdLst>
  <p:txStyles>
    <p:titleStyle>
      <a:lvl1pPr algn="l" rtl="0" eaLnBrk="1" fontAlgn="base" hangingPunct="1">
        <a:spcBef>
          <a:spcPct val="0"/>
        </a:spcBef>
        <a:spcAft>
          <a:spcPct val="0"/>
        </a:spcAft>
        <a:defRPr sz="1800" b="1" kern="1200">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5pPr>
      <a:lvl6pPr marL="34273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6pPr>
      <a:lvl7pPr marL="685470"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7pPr>
      <a:lvl8pPr marL="102820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8pPr>
      <a:lvl9pPr marL="1370941"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9pPr>
    </p:titleStyle>
    <p:bodyStyle>
      <a:lvl1pPr algn="l" defTabSz="666430" rtl="0" eaLnBrk="1" fontAlgn="base" hangingPunct="1">
        <a:spcBef>
          <a:spcPct val="0"/>
        </a:spcBef>
        <a:spcAft>
          <a:spcPts val="900"/>
        </a:spcAft>
        <a:buClr>
          <a:schemeClr val="bg2"/>
        </a:buClr>
        <a:buSzPct val="100000"/>
        <a:buFont typeface="Arial" charset="0"/>
        <a:defRPr sz="1200" b="1" kern="1200">
          <a:solidFill>
            <a:srgbClr val="003C71"/>
          </a:solidFill>
          <a:latin typeface="+mn-lt"/>
          <a:ea typeface="+mn-ea"/>
          <a:cs typeface="+mn-cs"/>
        </a:defRPr>
      </a:lvl1pPr>
      <a:lvl2pPr marL="161847" indent="-160657" algn="l" defTabSz="666430" rtl="0" eaLnBrk="1" fontAlgn="base" hangingPunct="1">
        <a:spcBef>
          <a:spcPct val="0"/>
        </a:spcBef>
        <a:spcAft>
          <a:spcPct val="50000"/>
        </a:spcAft>
        <a:buClr>
          <a:schemeClr val="accent2"/>
        </a:buClr>
        <a:buFont typeface="Arial" charset="0"/>
        <a:buChar char="●"/>
        <a:defRPr sz="1125" kern="1200">
          <a:solidFill>
            <a:srgbClr val="336699"/>
          </a:solidFill>
          <a:latin typeface="+mn-lt"/>
          <a:ea typeface="+mn-ea"/>
          <a:cs typeface="+mn-cs"/>
        </a:defRPr>
      </a:lvl2pPr>
      <a:lvl3pPr marL="379627" indent="-163038"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3pPr>
      <a:lvl4pPr marL="597408" indent="-134476" algn="l" defTabSz="666430" rtl="0" eaLnBrk="1" fontAlgn="base" hangingPunct="1">
        <a:spcBef>
          <a:spcPct val="0"/>
        </a:spcBef>
        <a:spcAft>
          <a:spcPct val="50000"/>
        </a:spcAft>
        <a:buClr>
          <a:srgbClr val="333333"/>
        </a:buClr>
        <a:buFont typeface="Wingdings" pitchFamily="2" charset="2"/>
        <a:buChar char="§"/>
        <a:defRPr sz="900" kern="1200">
          <a:solidFill>
            <a:srgbClr val="003C71"/>
          </a:solidFill>
          <a:latin typeface="+mn-lt"/>
          <a:ea typeface="+mn-ea"/>
          <a:cs typeface="+mn-cs"/>
        </a:defRPr>
      </a:lvl4pPr>
      <a:lvl5pPr marL="811616" indent="-115436"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5pPr>
      <a:lvl6pPr marL="1885045"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7780"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0516"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252"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470" rtl="0" eaLnBrk="1" latinLnBrk="0" hangingPunct="1">
        <a:defRPr sz="1350" kern="1200">
          <a:solidFill>
            <a:schemeClr val="tx1"/>
          </a:solidFill>
          <a:latin typeface="+mn-lt"/>
          <a:ea typeface="+mn-ea"/>
          <a:cs typeface="+mn-cs"/>
        </a:defRPr>
      </a:lvl1pPr>
      <a:lvl2pPr marL="342735" algn="l" defTabSz="685470" rtl="0" eaLnBrk="1" latinLnBrk="0" hangingPunct="1">
        <a:defRPr sz="1350" kern="1200">
          <a:solidFill>
            <a:schemeClr val="tx1"/>
          </a:solidFill>
          <a:latin typeface="+mn-lt"/>
          <a:ea typeface="+mn-ea"/>
          <a:cs typeface="+mn-cs"/>
        </a:defRPr>
      </a:lvl2pPr>
      <a:lvl3pPr marL="685470" algn="l" defTabSz="685470" rtl="0" eaLnBrk="1" latinLnBrk="0" hangingPunct="1">
        <a:defRPr sz="1350" kern="1200">
          <a:solidFill>
            <a:schemeClr val="tx1"/>
          </a:solidFill>
          <a:latin typeface="+mn-lt"/>
          <a:ea typeface="+mn-ea"/>
          <a:cs typeface="+mn-cs"/>
        </a:defRPr>
      </a:lvl3pPr>
      <a:lvl4pPr marL="1028205" algn="l" defTabSz="685470" rtl="0" eaLnBrk="1" latinLnBrk="0" hangingPunct="1">
        <a:defRPr sz="1350" kern="1200">
          <a:solidFill>
            <a:schemeClr val="tx1"/>
          </a:solidFill>
          <a:latin typeface="+mn-lt"/>
          <a:ea typeface="+mn-ea"/>
          <a:cs typeface="+mn-cs"/>
        </a:defRPr>
      </a:lvl4pPr>
      <a:lvl5pPr marL="1370941" algn="l" defTabSz="685470" rtl="0" eaLnBrk="1" latinLnBrk="0" hangingPunct="1">
        <a:defRPr sz="1350" kern="1200">
          <a:solidFill>
            <a:schemeClr val="tx1"/>
          </a:solidFill>
          <a:latin typeface="+mn-lt"/>
          <a:ea typeface="+mn-ea"/>
          <a:cs typeface="+mn-cs"/>
        </a:defRPr>
      </a:lvl5pPr>
      <a:lvl6pPr marL="1713676" algn="l" defTabSz="685470" rtl="0" eaLnBrk="1" latinLnBrk="0" hangingPunct="1">
        <a:defRPr sz="1350" kern="1200">
          <a:solidFill>
            <a:schemeClr val="tx1"/>
          </a:solidFill>
          <a:latin typeface="+mn-lt"/>
          <a:ea typeface="+mn-ea"/>
          <a:cs typeface="+mn-cs"/>
        </a:defRPr>
      </a:lvl6pPr>
      <a:lvl7pPr marL="2056413" algn="l" defTabSz="685470" rtl="0" eaLnBrk="1" latinLnBrk="0" hangingPunct="1">
        <a:defRPr sz="1350" kern="1200">
          <a:solidFill>
            <a:schemeClr val="tx1"/>
          </a:solidFill>
          <a:latin typeface="+mn-lt"/>
          <a:ea typeface="+mn-ea"/>
          <a:cs typeface="+mn-cs"/>
        </a:defRPr>
      </a:lvl7pPr>
      <a:lvl8pPr marL="2399148" algn="l" defTabSz="685470" rtl="0" eaLnBrk="1" latinLnBrk="0" hangingPunct="1">
        <a:defRPr sz="1350" kern="1200">
          <a:solidFill>
            <a:schemeClr val="tx1"/>
          </a:solidFill>
          <a:latin typeface="+mn-lt"/>
          <a:ea typeface="+mn-ea"/>
          <a:cs typeface="+mn-cs"/>
        </a:defRPr>
      </a:lvl8pPr>
      <a:lvl9pPr marL="2741883" algn="l" defTabSz="68547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8"/>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19" imgW="270" imgH="270" progId="TCLayout.ActiveDocument.1">
                  <p:embed/>
                </p:oleObj>
              </mc:Choice>
              <mc:Fallback>
                <p:oleObj name="think-cell Slide" r:id="rId19" imgW="270" imgH="270" progId="TCLayout.ActiveDocument.1">
                  <p:embed/>
                  <p:pic>
                    <p:nvPicPr>
                      <p:cNvPr id="2" name="Object 1" hidden="1"/>
                      <p:cNvPicPr/>
                      <p:nvPr/>
                    </p:nvPicPr>
                    <p:blipFill>
                      <a:blip r:embed="rId20"/>
                      <a:stretch>
                        <a:fillRect/>
                      </a:stretch>
                    </p:blipFill>
                    <p:spPr>
                      <a:xfrm>
                        <a:off x="1589" y="1590"/>
                        <a:ext cx="1587" cy="1587"/>
                      </a:xfrm>
                      <a:prstGeom prst="rect">
                        <a:avLst/>
                      </a:prstGeom>
                    </p:spPr>
                  </p:pic>
                </p:oleObj>
              </mc:Fallback>
            </mc:AlternateContent>
          </a:graphicData>
        </a:graphic>
      </p:graphicFrame>
      <p:pic>
        <p:nvPicPr>
          <p:cNvPr id="1026" name="Picture 46" descr="ESB_Powerpoint_design_background3.jpg"/>
          <p:cNvPicPr>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10"/>
          <p:cNvSpPr>
            <a:spLocks noGrp="1" noChangeArrowheads="1"/>
          </p:cNvSpPr>
          <p:nvPr>
            <p:ph type="title"/>
          </p:nvPr>
        </p:nvSpPr>
        <p:spPr bwMode="auto">
          <a:xfrm>
            <a:off x="660400" y="398473"/>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26" rIns="118851" bIns="59426" numCol="1" anchor="t" anchorCtr="0" compatLnSpc="1">
            <a:prstTxWarp prst="textNoShape">
              <a:avLst/>
            </a:prstTxWarp>
          </a:bodyPr>
          <a:lstStyle/>
          <a:p>
            <a:pPr lvl="0"/>
            <a:r>
              <a:rPr lang="en-US" altLang="en-US"/>
              <a:t>Click to edit Master title style</a:t>
            </a:r>
            <a:endParaRPr lang="en-GB" altLang="en-US"/>
          </a:p>
        </p:txBody>
      </p:sp>
      <p:sp>
        <p:nvSpPr>
          <p:cNvPr id="1028" name="Rectangle 9"/>
          <p:cNvSpPr>
            <a:spLocks noGrp="1" noChangeArrowheads="1"/>
          </p:cNvSpPr>
          <p:nvPr>
            <p:ph type="body" idx="1"/>
          </p:nvPr>
        </p:nvSpPr>
        <p:spPr bwMode="auto">
          <a:xfrm>
            <a:off x="662522" y="1111251"/>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69" rIns="88934" bIns="4446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5" y="6523039"/>
            <a:ext cx="582084" cy="173094"/>
          </a:xfrm>
          <a:prstGeom prst="rect">
            <a:avLst/>
          </a:prstGeom>
          <a:noFill/>
          <a:ln w="9525" algn="ctr">
            <a:noFill/>
            <a:miter lim="800000"/>
            <a:headEnd/>
            <a:tailEnd/>
          </a:ln>
          <a:effectLst/>
        </p:spPr>
        <p:txBody>
          <a:bodyPr lIns="68547" tIns="34275" rIns="68547" bIns="34275">
            <a:spAutoFit/>
          </a:bodyPr>
          <a:lstStyle>
            <a:lvl1pPr defTabSz="684213">
              <a:defRPr>
                <a:solidFill>
                  <a:schemeClr val="tx1"/>
                </a:solidFill>
                <a:latin typeface="Arial" charset="0"/>
                <a:cs typeface="Arial" charset="0"/>
              </a:defRPr>
            </a:lvl1pPr>
            <a:lvl2pPr marL="742950" indent="-285750" defTabSz="684213">
              <a:defRPr>
                <a:solidFill>
                  <a:schemeClr val="tx1"/>
                </a:solidFill>
                <a:latin typeface="Arial" charset="0"/>
                <a:cs typeface="Arial" charset="0"/>
              </a:defRPr>
            </a:lvl2pPr>
            <a:lvl3pPr marL="1143000" indent="-228600" defTabSz="684213">
              <a:defRPr>
                <a:solidFill>
                  <a:schemeClr val="tx1"/>
                </a:solidFill>
                <a:latin typeface="Arial" charset="0"/>
                <a:cs typeface="Arial" charset="0"/>
              </a:defRPr>
            </a:lvl3pPr>
            <a:lvl4pPr marL="1600200" indent="-228600" defTabSz="684213">
              <a:defRPr>
                <a:solidFill>
                  <a:schemeClr val="tx1"/>
                </a:solidFill>
                <a:latin typeface="Arial" charset="0"/>
                <a:cs typeface="Arial" charset="0"/>
              </a:defRPr>
            </a:lvl4pPr>
            <a:lvl5pPr marL="2057400" indent="-228600" defTabSz="684213">
              <a:defRPr>
                <a:solidFill>
                  <a:schemeClr val="tx1"/>
                </a:solidFill>
                <a:latin typeface="Arial" charset="0"/>
                <a:cs typeface="Arial" charset="0"/>
              </a:defRPr>
            </a:lvl5pPr>
            <a:lvl6pPr marL="2514600" indent="-228600" defTabSz="684213" eaLnBrk="0" fontAlgn="base" hangingPunct="0">
              <a:spcBef>
                <a:spcPct val="0"/>
              </a:spcBef>
              <a:spcAft>
                <a:spcPct val="0"/>
              </a:spcAft>
              <a:defRPr>
                <a:solidFill>
                  <a:schemeClr val="tx1"/>
                </a:solidFill>
                <a:latin typeface="Arial" charset="0"/>
                <a:cs typeface="Arial" charset="0"/>
              </a:defRPr>
            </a:lvl6pPr>
            <a:lvl7pPr marL="2971800" indent="-228600" defTabSz="684213" eaLnBrk="0" fontAlgn="base" hangingPunct="0">
              <a:spcBef>
                <a:spcPct val="0"/>
              </a:spcBef>
              <a:spcAft>
                <a:spcPct val="0"/>
              </a:spcAft>
              <a:defRPr>
                <a:solidFill>
                  <a:schemeClr val="tx1"/>
                </a:solidFill>
                <a:latin typeface="Arial" charset="0"/>
                <a:cs typeface="Arial" charset="0"/>
              </a:defRPr>
            </a:lvl7pPr>
            <a:lvl8pPr marL="3429000" indent="-228600" defTabSz="684213" eaLnBrk="0" fontAlgn="base" hangingPunct="0">
              <a:spcBef>
                <a:spcPct val="0"/>
              </a:spcBef>
              <a:spcAft>
                <a:spcPct val="0"/>
              </a:spcAft>
              <a:defRPr>
                <a:solidFill>
                  <a:schemeClr val="tx1"/>
                </a:solidFill>
                <a:latin typeface="Arial" charset="0"/>
                <a:cs typeface="Arial" charset="0"/>
              </a:defRPr>
            </a:lvl8pPr>
            <a:lvl9pPr marL="3886200" indent="-228600" defTabSz="684213" eaLnBrk="0" fontAlgn="base" hangingPunct="0">
              <a:spcBef>
                <a:spcPct val="0"/>
              </a:spcBef>
              <a:spcAft>
                <a:spcPct val="0"/>
              </a:spcAft>
              <a:defRPr>
                <a:solidFill>
                  <a:schemeClr val="tx1"/>
                </a:solidFill>
                <a:latin typeface="Arial" charset="0"/>
                <a:cs typeface="Arial" charset="0"/>
              </a:defRPr>
            </a:lvl9pPr>
          </a:lstStyle>
          <a:p>
            <a:pPr algn="ctr">
              <a:lnSpc>
                <a:spcPct val="90000"/>
              </a:lnSpc>
              <a:spcAft>
                <a:spcPct val="50000"/>
              </a:spcAft>
              <a:buClr>
                <a:srgbClr val="A59D95"/>
              </a:buClr>
              <a:buSzPct val="25000"/>
              <a:buFont typeface="Wingdings" pitchFamily="2" charset="2"/>
              <a:buNone/>
              <a:defRPr/>
            </a:pPr>
            <a:fld id="{8A5C6543-ADB9-45BA-BA42-89815372F924}" type="slidenum">
              <a:rPr lang="en-US" altLang="en-US" sz="750" smtClean="0">
                <a:solidFill>
                  <a:srgbClr val="FFFFFF"/>
                </a:solidFill>
              </a:rPr>
              <a:pPr algn="ctr">
                <a:lnSpc>
                  <a:spcPct val="90000"/>
                </a:lnSpc>
                <a:spcAft>
                  <a:spcPct val="50000"/>
                </a:spcAft>
                <a:buClr>
                  <a:srgbClr val="A59D95"/>
                </a:buClr>
                <a:buSzPct val="25000"/>
                <a:buFont typeface="Wingdings" pitchFamily="2" charset="2"/>
                <a:buNone/>
                <a:defRPr/>
              </a:pPr>
              <a:t>‹#›</a:t>
            </a:fld>
            <a:endParaRPr lang="en-US" altLang="en-US" sz="750">
              <a:solidFill>
                <a:srgbClr val="FFFFFF"/>
              </a:solidFill>
            </a:endParaRPr>
          </a:p>
        </p:txBody>
      </p:sp>
      <p:sp>
        <p:nvSpPr>
          <p:cNvPr id="51" name="Footer Placeholder 50"/>
          <p:cNvSpPr>
            <a:spLocks noGrp="1"/>
          </p:cNvSpPr>
          <p:nvPr>
            <p:ph type="ftr" sz="quarter" idx="3"/>
          </p:nvPr>
        </p:nvSpPr>
        <p:spPr>
          <a:xfrm>
            <a:off x="5327653" y="6538913"/>
            <a:ext cx="5088467" cy="196850"/>
          </a:xfrm>
          <a:prstGeom prst="rect">
            <a:avLst/>
          </a:prstGeom>
        </p:spPr>
        <p:txBody>
          <a:bodyPr vert="horz" wrap="square" lIns="91396" tIns="45700" rIns="91396" bIns="45700" numCol="1" anchor="ctr" anchorCtr="0" compatLnSpc="1">
            <a:prstTxWarp prst="textNoShape">
              <a:avLst/>
            </a:prstTxWarp>
          </a:bodyPr>
          <a:lstStyle>
            <a:lvl1pPr>
              <a:lnSpc>
                <a:spcPct val="90000"/>
              </a:lnSpc>
              <a:spcAft>
                <a:spcPct val="50000"/>
              </a:spcAft>
              <a:buClr>
                <a:schemeClr val="bg1"/>
              </a:buClr>
              <a:buSzPct val="25000"/>
              <a:buFont typeface="Wingdings" pitchFamily="2" charset="2"/>
              <a:buNone/>
              <a:defRPr sz="750" smtClean="0">
                <a:solidFill>
                  <a:srgbClr val="FFFFFF"/>
                </a:solidFill>
              </a:defRPr>
            </a:lvl1pPr>
          </a:lstStyle>
          <a:p>
            <a:pPr defTabSz="685470">
              <a:buClr>
                <a:srgbClr val="A59D95"/>
              </a:buClr>
            </a:pPr>
            <a:endParaRPr lang="en-IE"/>
          </a:p>
        </p:txBody>
      </p:sp>
      <p:sp>
        <p:nvSpPr>
          <p:cNvPr id="54" name="Footer Placeholder 50"/>
          <p:cNvSpPr txBox="1">
            <a:spLocks/>
          </p:cNvSpPr>
          <p:nvPr/>
        </p:nvSpPr>
        <p:spPr>
          <a:xfrm>
            <a:off x="10363200" y="6454830"/>
            <a:ext cx="1498600" cy="365125"/>
          </a:xfrm>
          <a:prstGeom prst="rect">
            <a:avLst/>
          </a:prstGeom>
        </p:spPr>
        <p:txBody>
          <a:bodyPr lIns="68547" tIns="34275" rIns="68547" bIns="34275"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685470">
              <a:lnSpc>
                <a:spcPct val="90000"/>
              </a:lnSpc>
              <a:spcAft>
                <a:spcPct val="50000"/>
              </a:spcAft>
              <a:buClr>
                <a:srgbClr val="A59D95"/>
              </a:buClr>
              <a:buSzPct val="25000"/>
              <a:buFont typeface="Wingdings" panose="05000000000000000000" pitchFamily="2" charset="2"/>
              <a:buNone/>
              <a:defRPr/>
            </a:pPr>
            <a:r>
              <a:rPr lang="en-IE" sz="750" b="1">
                <a:solidFill>
                  <a:srgbClr val="FFFFFF"/>
                </a:solidFill>
              </a:rPr>
              <a:t>esbnetworks.ie</a:t>
            </a:r>
          </a:p>
        </p:txBody>
      </p:sp>
      <p:sp>
        <p:nvSpPr>
          <p:cNvPr id="10" name="Rectangle 13"/>
          <p:cNvSpPr>
            <a:spLocks noChangeArrowheads="1"/>
          </p:cNvSpPr>
          <p:nvPr/>
        </p:nvSpPr>
        <p:spPr bwMode="auto">
          <a:xfrm>
            <a:off x="662522"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lIns="68547" tIns="34275" rIns="68547" bIns="34275"/>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a:lnSpc>
                <a:spcPct val="90000"/>
              </a:lnSpc>
              <a:spcAft>
                <a:spcPct val="50000"/>
              </a:spcAft>
              <a:buClr>
                <a:srgbClr val="A59D95"/>
              </a:buClr>
              <a:buSzPct val="25000"/>
              <a:buFont typeface="Wingdings" panose="05000000000000000000" pitchFamily="2" charset="2"/>
              <a:buNone/>
              <a:defRPr/>
            </a:pPr>
            <a:endParaRPr lang="en-IE" sz="750">
              <a:solidFill>
                <a:srgbClr val="336699"/>
              </a:solidFill>
            </a:endParaRPr>
          </a:p>
        </p:txBody>
      </p:sp>
      <p:pic>
        <p:nvPicPr>
          <p:cNvPr id="1033" name="Picture 24" descr="ESB_Networks_brandma#D1CA65"/>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userDrawn="1"/>
        </p:nvSpPr>
        <p:spPr>
          <a:xfrm>
            <a:off x="10146000" y="124293"/>
            <a:ext cx="1627800" cy="300082"/>
          </a:xfrm>
          <a:prstGeom prst="rect">
            <a:avLst/>
          </a:prstGeom>
          <a:noFill/>
        </p:spPr>
        <p:txBody>
          <a:bodyPr wrap="square" rtlCol="0" anchor="ctr">
            <a:spAutoFit/>
          </a:bodyPr>
          <a:lstStyle/>
          <a:p>
            <a:pPr algn="ctr"/>
            <a:r>
              <a:rPr lang="en-GB" sz="1350" b="1">
                <a:solidFill>
                  <a:srgbClr val="FF0000"/>
                </a:solidFill>
              </a:rPr>
              <a:t>DRAFT</a:t>
            </a:r>
          </a:p>
        </p:txBody>
      </p:sp>
    </p:spTree>
    <p:extLst>
      <p:ext uri="{BB962C8B-B14F-4D97-AF65-F5344CB8AC3E}">
        <p14:creationId xmlns:p14="http://schemas.microsoft.com/office/powerpoint/2010/main" val="2939326982"/>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Lst>
  <p:txStyles>
    <p:titleStyle>
      <a:lvl1pPr algn="l" rtl="0" eaLnBrk="1" fontAlgn="base" hangingPunct="1">
        <a:spcBef>
          <a:spcPct val="0"/>
        </a:spcBef>
        <a:spcAft>
          <a:spcPct val="0"/>
        </a:spcAft>
        <a:defRPr sz="1800" b="1" kern="1200">
          <a:solidFill>
            <a:schemeClr val="tx1"/>
          </a:solidFill>
          <a:latin typeface="+mj-lt"/>
          <a:ea typeface="+mj-ea"/>
          <a:cs typeface="+mj-cs"/>
        </a:defRPr>
      </a:lvl1pPr>
      <a:lvl2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2pPr>
      <a:lvl3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3pPr>
      <a:lvl4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4pPr>
      <a:lvl5pPr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5pPr>
      <a:lvl6pPr marL="34273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6pPr>
      <a:lvl7pPr marL="685470"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7pPr>
      <a:lvl8pPr marL="1028205"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8pPr>
      <a:lvl9pPr marL="1370941" algn="l" rtl="0" eaLnBrk="1" fontAlgn="base" hangingPunct="1">
        <a:spcBef>
          <a:spcPct val="0"/>
        </a:spcBef>
        <a:spcAft>
          <a:spcPct val="0"/>
        </a:spcAft>
        <a:defRPr sz="1800" b="1">
          <a:solidFill>
            <a:schemeClr val="tx1"/>
          </a:solidFill>
          <a:latin typeface="Arial" panose="020B0604020202020204" pitchFamily="34" charset="0"/>
          <a:cs typeface="Arial" panose="020B0604020202020204" pitchFamily="34" charset="0"/>
        </a:defRPr>
      </a:lvl9pPr>
    </p:titleStyle>
    <p:bodyStyle>
      <a:lvl1pPr algn="l" defTabSz="666430" rtl="0" eaLnBrk="1" fontAlgn="base" hangingPunct="1">
        <a:spcBef>
          <a:spcPct val="0"/>
        </a:spcBef>
        <a:spcAft>
          <a:spcPts val="900"/>
        </a:spcAft>
        <a:buClr>
          <a:schemeClr val="bg2"/>
        </a:buClr>
        <a:buSzPct val="100000"/>
        <a:buFont typeface="Arial" charset="0"/>
        <a:defRPr sz="1200" b="1" kern="1200">
          <a:solidFill>
            <a:srgbClr val="003C71"/>
          </a:solidFill>
          <a:latin typeface="+mn-lt"/>
          <a:ea typeface="+mn-ea"/>
          <a:cs typeface="+mn-cs"/>
        </a:defRPr>
      </a:lvl1pPr>
      <a:lvl2pPr marL="161847" indent="-160657" algn="l" defTabSz="666430" rtl="0" eaLnBrk="1" fontAlgn="base" hangingPunct="1">
        <a:spcBef>
          <a:spcPct val="0"/>
        </a:spcBef>
        <a:spcAft>
          <a:spcPct val="50000"/>
        </a:spcAft>
        <a:buClr>
          <a:schemeClr val="accent2"/>
        </a:buClr>
        <a:buFont typeface="Arial" charset="0"/>
        <a:buChar char="●"/>
        <a:defRPr sz="1125" kern="1200">
          <a:solidFill>
            <a:srgbClr val="336699"/>
          </a:solidFill>
          <a:latin typeface="+mn-lt"/>
          <a:ea typeface="+mn-ea"/>
          <a:cs typeface="+mn-cs"/>
        </a:defRPr>
      </a:lvl2pPr>
      <a:lvl3pPr marL="379627" indent="-163038"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3pPr>
      <a:lvl4pPr marL="597408" indent="-134476" algn="l" defTabSz="666430" rtl="0" eaLnBrk="1" fontAlgn="base" hangingPunct="1">
        <a:spcBef>
          <a:spcPct val="0"/>
        </a:spcBef>
        <a:spcAft>
          <a:spcPct val="50000"/>
        </a:spcAft>
        <a:buClr>
          <a:srgbClr val="333333"/>
        </a:buClr>
        <a:buFont typeface="Wingdings" pitchFamily="2" charset="2"/>
        <a:buChar char="§"/>
        <a:defRPr sz="900" kern="1200">
          <a:solidFill>
            <a:srgbClr val="003C71"/>
          </a:solidFill>
          <a:latin typeface="+mn-lt"/>
          <a:ea typeface="+mn-ea"/>
          <a:cs typeface="+mn-cs"/>
        </a:defRPr>
      </a:lvl4pPr>
      <a:lvl5pPr marL="811616" indent="-115436" algn="l" defTabSz="666430" rtl="0" eaLnBrk="1" fontAlgn="base" hangingPunct="1">
        <a:spcBef>
          <a:spcPct val="0"/>
        </a:spcBef>
        <a:spcAft>
          <a:spcPct val="50000"/>
        </a:spcAft>
        <a:buClr>
          <a:srgbClr val="333333"/>
        </a:buClr>
        <a:buChar char="-"/>
        <a:defRPr sz="900" kern="1200">
          <a:solidFill>
            <a:srgbClr val="003C71"/>
          </a:solidFill>
          <a:latin typeface="+mn-lt"/>
          <a:ea typeface="+mn-ea"/>
          <a:cs typeface="+mn-cs"/>
        </a:defRPr>
      </a:lvl5pPr>
      <a:lvl6pPr marL="1885045"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7780"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0516"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3252" indent="-171368" algn="l" defTabSz="68547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470" rtl="0" eaLnBrk="1" latinLnBrk="0" hangingPunct="1">
        <a:defRPr sz="1350" kern="1200">
          <a:solidFill>
            <a:schemeClr val="tx1"/>
          </a:solidFill>
          <a:latin typeface="+mn-lt"/>
          <a:ea typeface="+mn-ea"/>
          <a:cs typeface="+mn-cs"/>
        </a:defRPr>
      </a:lvl1pPr>
      <a:lvl2pPr marL="342735" algn="l" defTabSz="685470" rtl="0" eaLnBrk="1" latinLnBrk="0" hangingPunct="1">
        <a:defRPr sz="1350" kern="1200">
          <a:solidFill>
            <a:schemeClr val="tx1"/>
          </a:solidFill>
          <a:latin typeface="+mn-lt"/>
          <a:ea typeface="+mn-ea"/>
          <a:cs typeface="+mn-cs"/>
        </a:defRPr>
      </a:lvl2pPr>
      <a:lvl3pPr marL="685470" algn="l" defTabSz="685470" rtl="0" eaLnBrk="1" latinLnBrk="0" hangingPunct="1">
        <a:defRPr sz="1350" kern="1200">
          <a:solidFill>
            <a:schemeClr val="tx1"/>
          </a:solidFill>
          <a:latin typeface="+mn-lt"/>
          <a:ea typeface="+mn-ea"/>
          <a:cs typeface="+mn-cs"/>
        </a:defRPr>
      </a:lvl3pPr>
      <a:lvl4pPr marL="1028205" algn="l" defTabSz="685470" rtl="0" eaLnBrk="1" latinLnBrk="0" hangingPunct="1">
        <a:defRPr sz="1350" kern="1200">
          <a:solidFill>
            <a:schemeClr val="tx1"/>
          </a:solidFill>
          <a:latin typeface="+mn-lt"/>
          <a:ea typeface="+mn-ea"/>
          <a:cs typeface="+mn-cs"/>
        </a:defRPr>
      </a:lvl4pPr>
      <a:lvl5pPr marL="1370941" algn="l" defTabSz="685470" rtl="0" eaLnBrk="1" latinLnBrk="0" hangingPunct="1">
        <a:defRPr sz="1350" kern="1200">
          <a:solidFill>
            <a:schemeClr val="tx1"/>
          </a:solidFill>
          <a:latin typeface="+mn-lt"/>
          <a:ea typeface="+mn-ea"/>
          <a:cs typeface="+mn-cs"/>
        </a:defRPr>
      </a:lvl5pPr>
      <a:lvl6pPr marL="1713676" algn="l" defTabSz="685470" rtl="0" eaLnBrk="1" latinLnBrk="0" hangingPunct="1">
        <a:defRPr sz="1350" kern="1200">
          <a:solidFill>
            <a:schemeClr val="tx1"/>
          </a:solidFill>
          <a:latin typeface="+mn-lt"/>
          <a:ea typeface="+mn-ea"/>
          <a:cs typeface="+mn-cs"/>
        </a:defRPr>
      </a:lvl6pPr>
      <a:lvl7pPr marL="2056413" algn="l" defTabSz="685470" rtl="0" eaLnBrk="1" latinLnBrk="0" hangingPunct="1">
        <a:defRPr sz="1350" kern="1200">
          <a:solidFill>
            <a:schemeClr val="tx1"/>
          </a:solidFill>
          <a:latin typeface="+mn-lt"/>
          <a:ea typeface="+mn-ea"/>
          <a:cs typeface="+mn-cs"/>
        </a:defRPr>
      </a:lvl7pPr>
      <a:lvl8pPr marL="2399148" algn="l" defTabSz="685470" rtl="0" eaLnBrk="1" latinLnBrk="0" hangingPunct="1">
        <a:defRPr sz="1350" kern="1200">
          <a:solidFill>
            <a:schemeClr val="tx1"/>
          </a:solidFill>
          <a:latin typeface="+mn-lt"/>
          <a:ea typeface="+mn-ea"/>
          <a:cs typeface="+mn-cs"/>
        </a:defRPr>
      </a:lvl8pPr>
      <a:lvl9pPr marL="2741883" algn="l" defTabSz="68547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2530" name="Picture 46" descr="ESB_Powerpoint_design_background3.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0" y="635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1" name="Rectangle 10"/>
          <p:cNvSpPr>
            <a:spLocks noGrp="1" noChangeArrowheads="1"/>
          </p:cNvSpPr>
          <p:nvPr>
            <p:ph type="title"/>
          </p:nvPr>
        </p:nvSpPr>
        <p:spPr bwMode="auto">
          <a:xfrm>
            <a:off x="660400" y="398464"/>
            <a:ext cx="8892117"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vert="horz" wrap="square" lIns="0" tIns="59454" rIns="118909" bIns="59454" numCol="1" anchor="t" anchorCtr="0" compatLnSpc="1">
            <a:prstTxWarp prst="textNoShape">
              <a:avLst/>
            </a:prstTxWarp>
          </a:bodyPr>
          <a:lstStyle/>
          <a:p>
            <a:pPr lvl="0"/>
            <a:r>
              <a:rPr lang="en-GB" altLang="en-US"/>
              <a:t>Click to edit Master title style</a:t>
            </a:r>
          </a:p>
        </p:txBody>
      </p:sp>
      <p:sp>
        <p:nvSpPr>
          <p:cNvPr id="22532" name="Rectangle 9"/>
          <p:cNvSpPr>
            <a:spLocks noGrp="1" noChangeArrowheads="1"/>
          </p:cNvSpPr>
          <p:nvPr>
            <p:ph type="body" idx="1"/>
          </p:nvPr>
        </p:nvSpPr>
        <p:spPr bwMode="auto">
          <a:xfrm>
            <a:off x="662518" y="1111250"/>
            <a:ext cx="10830983" cy="4735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4489" rIns="88977" bIns="44489" numCol="1" anchor="t" anchorCtr="0" compatLnSpc="1">
            <a:prstTxWarp prst="textNoShape">
              <a:avLst/>
            </a:prstTxWarp>
          </a:bodyPr>
          <a:lstStyle/>
          <a:p>
            <a:pPr lvl="0"/>
            <a:r>
              <a:rPr lang="en-GB" altLang="en-US"/>
              <a:t>Click to edit Master text styles</a:t>
            </a:r>
          </a:p>
          <a:p>
            <a:pPr lvl="1"/>
            <a:r>
              <a:rPr lang="en-GB" altLang="en-US"/>
              <a:t>Click to edit Master text styles</a:t>
            </a:r>
          </a:p>
          <a:p>
            <a:pPr lvl="2"/>
            <a:r>
              <a:rPr lang="en-GB" altLang="en-US"/>
              <a:t>Third level</a:t>
            </a:r>
          </a:p>
          <a:p>
            <a:pPr lvl="3"/>
            <a:r>
              <a:rPr lang="en-GB" altLang="en-US"/>
              <a:t>Fourth level</a:t>
            </a:r>
          </a:p>
          <a:p>
            <a:pPr lvl="4"/>
            <a:r>
              <a:rPr lang="en-GB" altLang="en-US"/>
              <a:t>Fifth level</a:t>
            </a:r>
          </a:p>
        </p:txBody>
      </p:sp>
      <p:sp>
        <p:nvSpPr>
          <p:cNvPr id="1410060" name="Text Box 12"/>
          <p:cNvSpPr txBox="1">
            <a:spLocks noChangeArrowheads="1"/>
          </p:cNvSpPr>
          <p:nvPr/>
        </p:nvSpPr>
        <p:spPr bwMode="auto">
          <a:xfrm>
            <a:off x="80434" y="6523038"/>
            <a:ext cx="582084" cy="228600"/>
          </a:xfrm>
          <a:prstGeom prst="rect">
            <a:avLst/>
          </a:prstGeom>
          <a:noFill/>
          <a:ln w="9525" algn="ctr">
            <a:noFill/>
            <a:miter lim="800000"/>
            <a:headEnd/>
            <a:tailEnd/>
          </a:ln>
          <a:effectLst/>
        </p:spPr>
        <p:txBody>
          <a:bodyPr>
            <a:spAutoFit/>
          </a:bodyPr>
          <a:lstStyle>
            <a:lvl1pPr defTabSz="684213">
              <a:defRPr>
                <a:solidFill>
                  <a:schemeClr val="tx1"/>
                </a:solidFill>
                <a:latin typeface="Arial" charset="0"/>
              </a:defRPr>
            </a:lvl1pPr>
            <a:lvl2pPr marL="742950" indent="-285750" defTabSz="684213">
              <a:defRPr>
                <a:solidFill>
                  <a:schemeClr val="tx1"/>
                </a:solidFill>
                <a:latin typeface="Arial" charset="0"/>
              </a:defRPr>
            </a:lvl2pPr>
            <a:lvl3pPr marL="1143000" indent="-228600" defTabSz="684213">
              <a:defRPr>
                <a:solidFill>
                  <a:schemeClr val="tx1"/>
                </a:solidFill>
                <a:latin typeface="Arial" charset="0"/>
              </a:defRPr>
            </a:lvl3pPr>
            <a:lvl4pPr marL="1600200" indent="-228600" defTabSz="684213">
              <a:defRPr>
                <a:solidFill>
                  <a:schemeClr val="tx1"/>
                </a:solidFill>
                <a:latin typeface="Arial" charset="0"/>
              </a:defRPr>
            </a:lvl4pPr>
            <a:lvl5pPr marL="2057400" indent="-228600" defTabSz="684213">
              <a:defRPr>
                <a:solidFill>
                  <a:schemeClr val="tx1"/>
                </a:solidFill>
                <a:latin typeface="Arial" charset="0"/>
              </a:defRPr>
            </a:lvl5pPr>
            <a:lvl6pPr marL="2514600" indent="-228600" defTabSz="684213" fontAlgn="base">
              <a:spcBef>
                <a:spcPct val="0"/>
              </a:spcBef>
              <a:spcAft>
                <a:spcPct val="0"/>
              </a:spcAft>
              <a:defRPr>
                <a:solidFill>
                  <a:schemeClr val="tx1"/>
                </a:solidFill>
                <a:latin typeface="Arial" charset="0"/>
              </a:defRPr>
            </a:lvl6pPr>
            <a:lvl7pPr marL="2971800" indent="-228600" defTabSz="684213" fontAlgn="base">
              <a:spcBef>
                <a:spcPct val="0"/>
              </a:spcBef>
              <a:spcAft>
                <a:spcPct val="0"/>
              </a:spcAft>
              <a:defRPr>
                <a:solidFill>
                  <a:schemeClr val="tx1"/>
                </a:solidFill>
                <a:latin typeface="Arial" charset="0"/>
              </a:defRPr>
            </a:lvl7pPr>
            <a:lvl8pPr marL="3429000" indent="-228600" defTabSz="684213" fontAlgn="base">
              <a:spcBef>
                <a:spcPct val="0"/>
              </a:spcBef>
              <a:spcAft>
                <a:spcPct val="0"/>
              </a:spcAft>
              <a:defRPr>
                <a:solidFill>
                  <a:schemeClr val="tx1"/>
                </a:solidFill>
                <a:latin typeface="Arial" charset="0"/>
              </a:defRPr>
            </a:lvl8pPr>
            <a:lvl9pPr marL="3886200" indent="-228600" defTabSz="684213" fontAlgn="base">
              <a:spcBef>
                <a:spcPct val="0"/>
              </a:spcBef>
              <a:spcAft>
                <a:spcPct val="0"/>
              </a:spcAft>
              <a:defRPr>
                <a:solidFill>
                  <a:schemeClr val="tx1"/>
                </a:solidFill>
                <a:latin typeface="Arial" charset="0"/>
              </a:defRPr>
            </a:lvl9pPr>
          </a:lstStyle>
          <a:p>
            <a:pPr algn="ctr" eaLnBrk="0" hangingPunct="0">
              <a:lnSpc>
                <a:spcPct val="90000"/>
              </a:lnSpc>
              <a:spcAft>
                <a:spcPct val="50000"/>
              </a:spcAft>
              <a:buClr>
                <a:schemeClr val="bg1"/>
              </a:buClr>
              <a:buSzPct val="25000"/>
              <a:buFont typeface="Wingdings" pitchFamily="2" charset="2"/>
              <a:buNone/>
              <a:defRPr/>
            </a:pPr>
            <a:fld id="{B2F682AD-E679-4802-ACF3-C991231DBB02}" type="slidenum">
              <a:rPr lang="en-US" sz="1000" smtClean="0">
                <a:solidFill>
                  <a:srgbClr val="FFFFFF"/>
                </a:solidFill>
              </a:rPr>
              <a:pPr algn="ctr" eaLnBrk="0" hangingPunct="0">
                <a:lnSpc>
                  <a:spcPct val="90000"/>
                </a:lnSpc>
                <a:spcAft>
                  <a:spcPct val="50000"/>
                </a:spcAft>
                <a:buClr>
                  <a:schemeClr val="bg1"/>
                </a:buClr>
                <a:buSzPct val="25000"/>
                <a:buFont typeface="Wingdings" pitchFamily="2" charset="2"/>
                <a:buNone/>
                <a:defRPr/>
              </a:pPr>
              <a:t>‹#›</a:t>
            </a:fld>
            <a:endParaRPr lang="en-US" sz="1000">
              <a:solidFill>
                <a:srgbClr val="FFFFFF"/>
              </a:solidFill>
            </a:endParaRPr>
          </a:p>
        </p:txBody>
      </p:sp>
      <p:sp>
        <p:nvSpPr>
          <p:cNvPr id="51" name="Footer Placeholder 50"/>
          <p:cNvSpPr>
            <a:spLocks noGrp="1"/>
          </p:cNvSpPr>
          <p:nvPr>
            <p:ph type="ftr" sz="quarter" idx="3"/>
          </p:nvPr>
        </p:nvSpPr>
        <p:spPr>
          <a:xfrm>
            <a:off x="5327651" y="6538913"/>
            <a:ext cx="5088467" cy="196850"/>
          </a:xfrm>
          <a:prstGeom prst="rect">
            <a:avLst/>
          </a:prstGeom>
        </p:spPr>
        <p:txBody>
          <a:bodyPr vert="horz" wrap="square" lIns="91440" tIns="45720" rIns="91440" bIns="45720" numCol="1" anchor="ctr" anchorCtr="0" compatLnSpc="1">
            <a:prstTxWarp prst="textNoShape">
              <a:avLst/>
            </a:prstTxWarp>
          </a:bodyPr>
          <a:lstStyle>
            <a:lvl1pPr eaLnBrk="0" hangingPunct="0">
              <a:lnSpc>
                <a:spcPct val="90000"/>
              </a:lnSpc>
              <a:spcAft>
                <a:spcPct val="50000"/>
              </a:spcAft>
              <a:buClr>
                <a:schemeClr val="bg1"/>
              </a:buClr>
              <a:buSzPct val="25000"/>
              <a:buFont typeface="Wingdings" pitchFamily="2" charset="2"/>
              <a:buNone/>
              <a:defRPr sz="1000">
                <a:solidFill>
                  <a:srgbClr val="FFFFFF"/>
                </a:solidFill>
                <a:cs typeface="+mn-cs"/>
              </a:defRPr>
            </a:lvl1pPr>
          </a:lstStyle>
          <a:p>
            <a:pPr>
              <a:defRPr/>
            </a:pPr>
            <a:endParaRPr lang="en-IE"/>
          </a:p>
        </p:txBody>
      </p:sp>
      <p:sp>
        <p:nvSpPr>
          <p:cNvPr id="54" name="Footer Placeholder 50"/>
          <p:cNvSpPr txBox="1">
            <a:spLocks/>
          </p:cNvSpPr>
          <p:nvPr/>
        </p:nvSpPr>
        <p:spPr>
          <a:xfrm>
            <a:off x="10363200" y="6454776"/>
            <a:ext cx="1498600" cy="365125"/>
          </a:xfrm>
          <a:prstGeom prst="rect">
            <a:avLst/>
          </a:prstGeom>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0" hangingPunct="0">
              <a:lnSpc>
                <a:spcPct val="90000"/>
              </a:lnSpc>
              <a:spcAft>
                <a:spcPct val="50000"/>
              </a:spcAft>
              <a:buClr>
                <a:schemeClr val="bg1"/>
              </a:buClr>
              <a:buSzPct val="25000"/>
              <a:buFont typeface="Wingdings" panose="05000000000000000000" pitchFamily="2" charset="2"/>
              <a:buNone/>
              <a:defRPr/>
            </a:pPr>
            <a:r>
              <a:rPr lang="en-IE" sz="1000" b="1">
                <a:solidFill>
                  <a:srgbClr val="FFFFFF"/>
                </a:solidFill>
              </a:rPr>
              <a:t>esbnetworks.ie</a:t>
            </a:r>
          </a:p>
        </p:txBody>
      </p:sp>
      <p:sp>
        <p:nvSpPr>
          <p:cNvPr id="10" name="Rectangle 13"/>
          <p:cNvSpPr>
            <a:spLocks noChangeArrowheads="1"/>
          </p:cNvSpPr>
          <p:nvPr/>
        </p:nvSpPr>
        <p:spPr bwMode="auto">
          <a:xfrm>
            <a:off x="662518" y="976313"/>
            <a:ext cx="10830983" cy="42862"/>
          </a:xfrm>
          <a:prstGeom prst="rect">
            <a:avLst/>
          </a:prstGeom>
          <a:gradFill rotWithShape="0">
            <a:gsLst>
              <a:gs pos="0">
                <a:srgbClr val="110352"/>
              </a:gs>
              <a:gs pos="12000">
                <a:srgbClr val="110352"/>
              </a:gs>
              <a:gs pos="100000">
                <a:srgbClr val="00B2EF"/>
              </a:gs>
            </a:gsLst>
            <a:lin ang="1800000"/>
          </a:gra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defTabSz="889000">
              <a:defRPr sz="1000" b="1">
                <a:solidFill>
                  <a:schemeClr val="tx1"/>
                </a:solidFill>
                <a:latin typeface="Arial" panose="020B0604020202020204" pitchFamily="34" charset="0"/>
                <a:cs typeface="Arial" panose="020B0604020202020204" pitchFamily="34" charset="0"/>
              </a:defRPr>
            </a:lvl1pPr>
            <a:lvl2pPr marL="742950" indent="-285750" defTabSz="889000">
              <a:defRPr sz="1000" b="1">
                <a:solidFill>
                  <a:schemeClr val="tx1"/>
                </a:solidFill>
                <a:latin typeface="Arial" panose="020B0604020202020204" pitchFamily="34" charset="0"/>
                <a:cs typeface="Arial" panose="020B0604020202020204" pitchFamily="34" charset="0"/>
              </a:defRPr>
            </a:lvl2pPr>
            <a:lvl3pPr marL="1143000" indent="-228600" defTabSz="889000">
              <a:defRPr sz="1000" b="1">
                <a:solidFill>
                  <a:schemeClr val="tx1"/>
                </a:solidFill>
                <a:latin typeface="Arial" panose="020B0604020202020204" pitchFamily="34" charset="0"/>
                <a:cs typeface="Arial" panose="020B0604020202020204" pitchFamily="34" charset="0"/>
              </a:defRPr>
            </a:lvl3pPr>
            <a:lvl4pPr marL="1600200" indent="-228600" defTabSz="889000">
              <a:defRPr sz="1000" b="1">
                <a:solidFill>
                  <a:schemeClr val="tx1"/>
                </a:solidFill>
                <a:latin typeface="Arial" panose="020B0604020202020204" pitchFamily="34" charset="0"/>
                <a:cs typeface="Arial" panose="020B0604020202020204" pitchFamily="34" charset="0"/>
              </a:defRPr>
            </a:lvl4pPr>
            <a:lvl5pPr marL="2057400" indent="-228600" defTabSz="889000">
              <a:defRPr sz="1000" b="1">
                <a:solidFill>
                  <a:schemeClr val="tx1"/>
                </a:solidFill>
                <a:latin typeface="Arial" panose="020B0604020202020204" pitchFamily="34" charset="0"/>
                <a:cs typeface="Arial" panose="020B0604020202020204" pitchFamily="34" charset="0"/>
              </a:defRPr>
            </a:lvl5pPr>
            <a:lvl6pPr marL="25146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6pPr>
            <a:lvl7pPr marL="29718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7pPr>
            <a:lvl8pPr marL="34290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8pPr>
            <a:lvl9pPr marL="3886200" indent="-228600" defTabSz="889000" eaLnBrk="0" fontAlgn="base" hangingPunct="0">
              <a:spcBef>
                <a:spcPct val="0"/>
              </a:spcBef>
              <a:spcAft>
                <a:spcPct val="0"/>
              </a:spcAft>
              <a:defRPr sz="1000" b="1">
                <a:solidFill>
                  <a:schemeClr val="tx1"/>
                </a:solidFill>
                <a:latin typeface="Arial" panose="020B0604020202020204" pitchFamily="34" charset="0"/>
                <a:cs typeface="Arial" panose="020B0604020202020204" pitchFamily="34" charset="0"/>
              </a:defRPr>
            </a:lvl9pPr>
          </a:lstStyle>
          <a:p>
            <a:pPr eaLnBrk="0" hangingPunct="0">
              <a:lnSpc>
                <a:spcPct val="90000"/>
              </a:lnSpc>
              <a:spcAft>
                <a:spcPct val="50000"/>
              </a:spcAft>
              <a:buClr>
                <a:schemeClr val="bg1"/>
              </a:buClr>
              <a:buSzPct val="25000"/>
              <a:buFont typeface="Wingdings" panose="05000000000000000000" pitchFamily="2" charset="2"/>
              <a:buNone/>
              <a:defRPr/>
            </a:pPr>
            <a:endParaRPr lang="en-IE" sz="1000"/>
          </a:p>
        </p:txBody>
      </p:sp>
      <p:pic>
        <p:nvPicPr>
          <p:cNvPr id="22537" name="Picture 24" descr="ESB_Networks_brandma#D1CA65"/>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9552517" y="476250"/>
            <a:ext cx="1919816"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8319155"/>
      </p:ext>
    </p:extLst>
  </p:cSld>
  <p:clrMap bg1="lt1" tx1="dk1" bg2="lt2" tx2="dk2" accent1="accent1" accent2="accent2" accent3="accent3" accent4="accent4" accent5="accent5" accent6="accent6" hlink="hlink" folHlink="folHlink"/>
  <p:sldLayoutIdLst>
    <p:sldLayoutId id="2147484225" r:id="rId1"/>
    <p:sldLayoutId id="2147484226" r:id="rId2"/>
    <p:sldLayoutId id="2147484227" r:id="rId3"/>
    <p:sldLayoutId id="2147484228" r:id="rId4"/>
    <p:sldLayoutId id="2147484229" r:id="rId5"/>
    <p:sldLayoutId id="2147484230" r:id="rId6"/>
    <p:sldLayoutId id="2147484231" r:id="rId7"/>
    <p:sldLayoutId id="2147484232" r:id="rId8"/>
    <p:sldLayoutId id="2147484233" r:id="rId9"/>
    <p:sldLayoutId id="2147484234" r:id="rId10"/>
    <p:sldLayoutId id="2147484235" r:id="rId11"/>
    <p:sldLayoutId id="2147484236" r:id="rId12"/>
    <p:sldLayoutId id="2147484237" r:id="rId13"/>
    <p:sldLayoutId id="2147484238" r:id="rId14"/>
    <p:sldLayoutId id="2147484239" r:id="rId15"/>
  </p:sldLayoutIdLst>
  <p:hf sldNum="0" hdr="0" ft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Arial" charset="0"/>
          <a:cs typeface="Arial" charset="0"/>
        </a:defRPr>
      </a:lvl2pPr>
      <a:lvl3pPr algn="l" rtl="0" eaLnBrk="0" fontAlgn="base" hangingPunct="0">
        <a:spcBef>
          <a:spcPct val="0"/>
        </a:spcBef>
        <a:spcAft>
          <a:spcPct val="0"/>
        </a:spcAft>
        <a:defRPr sz="2400" b="1">
          <a:solidFill>
            <a:schemeClr val="tx1"/>
          </a:solidFill>
          <a:latin typeface="Arial" charset="0"/>
          <a:cs typeface="Arial" charset="0"/>
        </a:defRPr>
      </a:lvl3pPr>
      <a:lvl4pPr algn="l" rtl="0" eaLnBrk="0" fontAlgn="base" hangingPunct="0">
        <a:spcBef>
          <a:spcPct val="0"/>
        </a:spcBef>
        <a:spcAft>
          <a:spcPct val="0"/>
        </a:spcAft>
        <a:defRPr sz="2400" b="1">
          <a:solidFill>
            <a:schemeClr val="tx1"/>
          </a:solidFill>
          <a:latin typeface="Arial" charset="0"/>
          <a:cs typeface="Arial" charset="0"/>
        </a:defRPr>
      </a:lvl4pPr>
      <a:lvl5pPr algn="l" rtl="0" eaLnBrk="0" fontAlgn="base" hangingPunct="0">
        <a:spcBef>
          <a:spcPct val="0"/>
        </a:spcBef>
        <a:spcAft>
          <a:spcPct val="0"/>
        </a:spcAft>
        <a:defRPr sz="2400" b="1">
          <a:solidFill>
            <a:schemeClr val="tx1"/>
          </a:solidFill>
          <a:latin typeface="Arial" charset="0"/>
          <a:cs typeface="Arial" charset="0"/>
        </a:defRPr>
      </a:lvl5pPr>
      <a:lvl6pPr marL="457200" algn="l" rtl="0" eaLnBrk="0" fontAlgn="base" hangingPunct="0">
        <a:spcBef>
          <a:spcPct val="0"/>
        </a:spcBef>
        <a:spcAft>
          <a:spcPct val="0"/>
        </a:spcAft>
        <a:defRPr sz="2400" b="1">
          <a:solidFill>
            <a:schemeClr val="tx1"/>
          </a:solidFill>
          <a:latin typeface="Arial" charset="0"/>
          <a:cs typeface="Arial" charset="0"/>
        </a:defRPr>
      </a:lvl6pPr>
      <a:lvl7pPr marL="914400" algn="l" rtl="0" eaLnBrk="0" fontAlgn="base" hangingPunct="0">
        <a:spcBef>
          <a:spcPct val="0"/>
        </a:spcBef>
        <a:spcAft>
          <a:spcPct val="0"/>
        </a:spcAft>
        <a:defRPr sz="2400" b="1">
          <a:solidFill>
            <a:schemeClr val="tx1"/>
          </a:solidFill>
          <a:latin typeface="Arial" charset="0"/>
          <a:cs typeface="Arial" charset="0"/>
        </a:defRPr>
      </a:lvl7pPr>
      <a:lvl8pPr marL="1371600" algn="l" rtl="0" eaLnBrk="0" fontAlgn="base" hangingPunct="0">
        <a:spcBef>
          <a:spcPct val="0"/>
        </a:spcBef>
        <a:spcAft>
          <a:spcPct val="0"/>
        </a:spcAft>
        <a:defRPr sz="2400" b="1">
          <a:solidFill>
            <a:schemeClr val="tx1"/>
          </a:solidFill>
          <a:latin typeface="Arial" charset="0"/>
          <a:cs typeface="Arial" charset="0"/>
        </a:defRPr>
      </a:lvl8pPr>
      <a:lvl9pPr marL="1828800" algn="l" rtl="0" eaLnBrk="0" fontAlgn="base" hangingPunct="0">
        <a:spcBef>
          <a:spcPct val="0"/>
        </a:spcBef>
        <a:spcAft>
          <a:spcPct val="0"/>
        </a:spcAft>
        <a:defRPr sz="2400" b="1">
          <a:solidFill>
            <a:schemeClr val="tx1"/>
          </a:solidFill>
          <a:latin typeface="Arial" charset="0"/>
          <a:cs typeface="Arial" charset="0"/>
        </a:defRPr>
      </a:lvl9pPr>
    </p:titleStyle>
    <p:bodyStyle>
      <a:lvl1pPr marL="342900" indent="-342900" algn="l" defTabSz="889000" rtl="0" eaLnBrk="0" fontAlgn="base" hangingPunct="0">
        <a:spcBef>
          <a:spcPct val="0"/>
        </a:spcBef>
        <a:spcAft>
          <a:spcPts val="1200"/>
        </a:spcAft>
        <a:buClr>
          <a:schemeClr val="bg2"/>
        </a:buClr>
        <a:buSzPct val="100000"/>
        <a:buFont typeface="Arial" charset="0"/>
        <a:defRPr sz="1600" b="1">
          <a:solidFill>
            <a:srgbClr val="003C71"/>
          </a:solidFill>
          <a:latin typeface="+mn-lt"/>
          <a:ea typeface="+mn-ea"/>
          <a:cs typeface="+mn-cs"/>
        </a:defRPr>
      </a:lvl1pPr>
      <a:lvl2pPr marL="215900" indent="-214313" algn="l" defTabSz="889000" rtl="0" eaLnBrk="0" fontAlgn="base" hangingPunct="0">
        <a:spcBef>
          <a:spcPct val="0"/>
        </a:spcBef>
        <a:spcAft>
          <a:spcPct val="50000"/>
        </a:spcAft>
        <a:buClr>
          <a:schemeClr val="accent2"/>
        </a:buClr>
        <a:buFont typeface="Arial" charset="0"/>
        <a:buChar char="●"/>
        <a:defRPr sz="1500">
          <a:solidFill>
            <a:srgbClr val="336699"/>
          </a:solidFill>
          <a:latin typeface="+mn-lt"/>
          <a:cs typeface="+mn-cs"/>
        </a:defRPr>
      </a:lvl2pPr>
      <a:lvl3pPr marL="506413" indent="-217488" algn="l" defTabSz="889000" rtl="0" eaLnBrk="0" fontAlgn="base" hangingPunct="0">
        <a:spcBef>
          <a:spcPct val="0"/>
        </a:spcBef>
        <a:spcAft>
          <a:spcPct val="50000"/>
        </a:spcAft>
        <a:buClr>
          <a:srgbClr val="333333"/>
        </a:buClr>
        <a:buChar char="–"/>
        <a:defRPr sz="1200">
          <a:solidFill>
            <a:srgbClr val="003C71"/>
          </a:solidFill>
          <a:latin typeface="+mn-lt"/>
          <a:cs typeface="+mn-cs"/>
        </a:defRPr>
      </a:lvl3pPr>
      <a:lvl4pPr marL="796925" indent="-179388" algn="l" defTabSz="889000" rtl="0" eaLnBrk="0" fontAlgn="base" hangingPunct="0">
        <a:spcBef>
          <a:spcPct val="0"/>
        </a:spcBef>
        <a:spcAft>
          <a:spcPct val="50000"/>
        </a:spcAft>
        <a:buClr>
          <a:srgbClr val="333333"/>
        </a:buClr>
        <a:buFont typeface="Wingdings" pitchFamily="2" charset="2"/>
        <a:buChar char="§"/>
        <a:defRPr sz="1200">
          <a:solidFill>
            <a:srgbClr val="003C71"/>
          </a:solidFill>
          <a:latin typeface="+mn-lt"/>
          <a:cs typeface="+mn-cs"/>
        </a:defRPr>
      </a:lvl4pPr>
      <a:lvl5pPr marL="1082675" indent="-153988" algn="l" defTabSz="889000" rtl="0" eaLnBrk="0" fontAlgn="base" hangingPunct="0">
        <a:spcBef>
          <a:spcPct val="0"/>
        </a:spcBef>
        <a:spcAft>
          <a:spcPct val="50000"/>
        </a:spcAft>
        <a:buClr>
          <a:srgbClr val="333333"/>
        </a:buClr>
        <a:buChar char="-"/>
        <a:defRPr sz="1200">
          <a:solidFill>
            <a:srgbClr val="003C71"/>
          </a:solidFill>
          <a:latin typeface="+mn-lt"/>
          <a:cs typeface="+mn-cs"/>
        </a:defRPr>
      </a:lvl5pPr>
      <a:lvl6pPr marL="1539875" indent="-153988" algn="l" defTabSz="889000" rtl="0" eaLnBrk="0" fontAlgn="base" hangingPunct="0">
        <a:spcBef>
          <a:spcPct val="0"/>
        </a:spcBef>
        <a:spcAft>
          <a:spcPct val="50000"/>
        </a:spcAft>
        <a:buClr>
          <a:srgbClr val="333333"/>
        </a:buClr>
        <a:buChar char="-"/>
        <a:defRPr sz="1200">
          <a:solidFill>
            <a:srgbClr val="003C71"/>
          </a:solidFill>
          <a:latin typeface="+mn-lt"/>
          <a:cs typeface="+mn-cs"/>
        </a:defRPr>
      </a:lvl6pPr>
      <a:lvl7pPr marL="1997075" indent="-153988" algn="l" defTabSz="889000" rtl="0" eaLnBrk="0" fontAlgn="base" hangingPunct="0">
        <a:spcBef>
          <a:spcPct val="0"/>
        </a:spcBef>
        <a:spcAft>
          <a:spcPct val="50000"/>
        </a:spcAft>
        <a:buClr>
          <a:srgbClr val="333333"/>
        </a:buClr>
        <a:buChar char="-"/>
        <a:defRPr sz="1200">
          <a:solidFill>
            <a:srgbClr val="003C71"/>
          </a:solidFill>
          <a:latin typeface="+mn-lt"/>
          <a:cs typeface="+mn-cs"/>
        </a:defRPr>
      </a:lvl7pPr>
      <a:lvl8pPr marL="2454275" indent="-153988" algn="l" defTabSz="889000" rtl="0" eaLnBrk="0" fontAlgn="base" hangingPunct="0">
        <a:spcBef>
          <a:spcPct val="0"/>
        </a:spcBef>
        <a:spcAft>
          <a:spcPct val="50000"/>
        </a:spcAft>
        <a:buClr>
          <a:srgbClr val="333333"/>
        </a:buClr>
        <a:buChar char="-"/>
        <a:defRPr sz="1200">
          <a:solidFill>
            <a:srgbClr val="003C71"/>
          </a:solidFill>
          <a:latin typeface="+mn-lt"/>
          <a:cs typeface="+mn-cs"/>
        </a:defRPr>
      </a:lvl8pPr>
      <a:lvl9pPr marL="2911475" indent="-153988" algn="l" defTabSz="889000" rtl="0" eaLnBrk="0" fontAlgn="base" hangingPunct="0">
        <a:spcBef>
          <a:spcPct val="0"/>
        </a:spcBef>
        <a:spcAft>
          <a:spcPct val="50000"/>
        </a:spcAft>
        <a:buClr>
          <a:srgbClr val="333333"/>
        </a:buClr>
        <a:buChar char="-"/>
        <a:defRPr sz="1200">
          <a:solidFill>
            <a:srgbClr val="003C7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966215" y="293564"/>
            <a:ext cx="1872000" cy="755458"/>
          </a:xfrm>
          <a:prstGeom prst="rect">
            <a:avLst/>
          </a:prstGeom>
        </p:spPr>
      </p:pic>
      <p:sp>
        <p:nvSpPr>
          <p:cNvPr id="9" name="Rectangle 8"/>
          <p:cNvSpPr/>
          <p:nvPr userDrawn="1"/>
        </p:nvSpPr>
        <p:spPr>
          <a:xfrm>
            <a:off x="1" y="6400800"/>
            <a:ext cx="12191999" cy="457200"/>
          </a:xfrm>
          <a:prstGeom prst="rect">
            <a:avLst/>
          </a:prstGeom>
          <a:gradFill flip="none" rotWithShape="1">
            <a:gsLst>
              <a:gs pos="0">
                <a:srgbClr val="0D134F"/>
              </a:gs>
              <a:gs pos="35000">
                <a:srgbClr val="467BBC"/>
              </a:gs>
              <a:gs pos="92000">
                <a:srgbClr val="B6BF00"/>
              </a:gs>
              <a:gs pos="58000">
                <a:srgbClr val="009FDF"/>
              </a:gs>
              <a:gs pos="100000">
                <a:srgbClr val="FFD6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800"/>
          </a:p>
        </p:txBody>
      </p:sp>
      <p:sp>
        <p:nvSpPr>
          <p:cNvPr id="2" name="Title Placeholder 1"/>
          <p:cNvSpPr>
            <a:spLocks noGrp="1"/>
          </p:cNvSpPr>
          <p:nvPr>
            <p:ph type="title"/>
          </p:nvPr>
        </p:nvSpPr>
        <p:spPr>
          <a:xfrm>
            <a:off x="509046" y="221194"/>
            <a:ext cx="9457169" cy="711736"/>
          </a:xfrm>
          <a:prstGeom prst="rect">
            <a:avLst/>
          </a:prstGeom>
        </p:spPr>
        <p:txBody>
          <a:bodyPr vert="horz" lIns="0" tIns="46800" rIns="0" bIns="45720" rtlCol="0" anchor="t" anchorCtr="0">
            <a:noAutofit/>
          </a:bodyPr>
          <a:lstStyle/>
          <a:p>
            <a:r>
              <a:rPr lang="en-US"/>
              <a:t>Click to edit Master title style</a:t>
            </a:r>
            <a:endParaRPr lang="en-IE"/>
          </a:p>
        </p:txBody>
      </p:sp>
      <p:sp>
        <p:nvSpPr>
          <p:cNvPr id="3" name="Text Placeholder 2"/>
          <p:cNvSpPr>
            <a:spLocks noGrp="1"/>
          </p:cNvSpPr>
          <p:nvPr>
            <p:ph type="body" idx="1"/>
          </p:nvPr>
        </p:nvSpPr>
        <p:spPr>
          <a:xfrm>
            <a:off x="509046" y="1332410"/>
            <a:ext cx="11170192" cy="468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4" name="Date Placeholder 3"/>
          <p:cNvSpPr>
            <a:spLocks noGrp="1"/>
          </p:cNvSpPr>
          <p:nvPr>
            <p:ph type="dt" sz="half" idx="2"/>
          </p:nvPr>
        </p:nvSpPr>
        <p:spPr>
          <a:xfrm>
            <a:off x="1024984" y="6476256"/>
            <a:ext cx="1224841" cy="259825"/>
          </a:xfrm>
          <a:prstGeom prst="rect">
            <a:avLst/>
          </a:prstGeom>
        </p:spPr>
        <p:txBody>
          <a:bodyPr vert="horz" lIns="91440" tIns="45720" rIns="91440" bIns="46800" rtlCol="0" anchor="t" anchorCtr="0"/>
          <a:lstStyle>
            <a:lvl1pPr algn="l">
              <a:defRPr sz="1100">
                <a:solidFill>
                  <a:schemeClr val="tx2"/>
                </a:solidFill>
              </a:defRPr>
            </a:lvl1pPr>
          </a:lstStyle>
          <a:p>
            <a:fld id="{380F0368-ED71-4380-8A0A-C8EC1E4B6E2D}" type="datetimeFigureOut">
              <a:rPr lang="en-IE" smtClean="0"/>
              <a:pPr/>
              <a:t>01/03/2024</a:t>
            </a:fld>
            <a:endParaRPr lang="en-IE"/>
          </a:p>
        </p:txBody>
      </p:sp>
      <p:sp>
        <p:nvSpPr>
          <p:cNvPr id="5" name="Footer Placeholder 4"/>
          <p:cNvSpPr>
            <a:spLocks noGrp="1"/>
          </p:cNvSpPr>
          <p:nvPr>
            <p:ph type="ftr" sz="quarter" idx="3"/>
          </p:nvPr>
        </p:nvSpPr>
        <p:spPr>
          <a:xfrm>
            <a:off x="2249826" y="6480487"/>
            <a:ext cx="6554809" cy="255326"/>
          </a:xfrm>
          <a:prstGeom prst="rect">
            <a:avLst/>
          </a:prstGeom>
        </p:spPr>
        <p:txBody>
          <a:bodyPr vert="horz" lIns="91440" tIns="45720" rIns="91440" bIns="46800" rtlCol="0" anchor="t" anchorCtr="0"/>
          <a:lstStyle>
            <a:lvl1pPr algn="ctr">
              <a:defRPr sz="1100">
                <a:solidFill>
                  <a:schemeClr val="tx2"/>
                </a:solidFill>
              </a:defRPr>
            </a:lvl1pPr>
          </a:lstStyle>
          <a:p>
            <a:endParaRPr lang="en-IE"/>
          </a:p>
        </p:txBody>
      </p:sp>
      <p:sp>
        <p:nvSpPr>
          <p:cNvPr id="6" name="Slide Number Placeholder 5"/>
          <p:cNvSpPr>
            <a:spLocks noGrp="1"/>
          </p:cNvSpPr>
          <p:nvPr>
            <p:ph type="sldNum" sz="quarter" idx="4"/>
          </p:nvPr>
        </p:nvSpPr>
        <p:spPr>
          <a:xfrm>
            <a:off x="515938" y="6476256"/>
            <a:ext cx="509046" cy="259557"/>
          </a:xfrm>
          <a:prstGeom prst="rect">
            <a:avLst/>
          </a:prstGeom>
        </p:spPr>
        <p:txBody>
          <a:bodyPr vert="horz" lIns="0" tIns="45720" rIns="91440" bIns="46800" rtlCol="0" anchor="t" anchorCtr="0"/>
          <a:lstStyle>
            <a:lvl1pPr algn="r">
              <a:defRPr sz="1100">
                <a:solidFill>
                  <a:schemeClr val="tx2"/>
                </a:solidFill>
              </a:defRPr>
            </a:lvl1pPr>
          </a:lstStyle>
          <a:p>
            <a:pPr algn="l"/>
            <a:fld id="{4A13BAFD-C6E1-49C5-8C3D-26FF884B8F3D}" type="slidenum">
              <a:rPr lang="en-IE" smtClean="0"/>
              <a:pPr algn="l"/>
              <a:t>‹#›</a:t>
            </a:fld>
            <a:endParaRPr lang="en-IE"/>
          </a:p>
        </p:txBody>
      </p:sp>
      <p:sp>
        <p:nvSpPr>
          <p:cNvPr id="10" name="TextBox 9"/>
          <p:cNvSpPr txBox="1"/>
          <p:nvPr userDrawn="1"/>
        </p:nvSpPr>
        <p:spPr>
          <a:xfrm>
            <a:off x="9276080" y="6477000"/>
            <a:ext cx="2403157" cy="261610"/>
          </a:xfrm>
          <a:prstGeom prst="rect">
            <a:avLst/>
          </a:prstGeom>
          <a:noFill/>
        </p:spPr>
        <p:txBody>
          <a:bodyPr wrap="square" rIns="0" rtlCol="0">
            <a:spAutoFit/>
          </a:bodyPr>
          <a:lstStyle/>
          <a:p>
            <a:pPr algn="r"/>
            <a:r>
              <a:rPr lang="en-IE" sz="1100">
                <a:solidFill>
                  <a:schemeClr val="tx2"/>
                </a:solidFill>
              </a:rPr>
              <a:t>esbnetworks.ie</a:t>
            </a:r>
          </a:p>
        </p:txBody>
      </p:sp>
      <p:cxnSp>
        <p:nvCxnSpPr>
          <p:cNvPr id="12" name="Straight Connector 11"/>
          <p:cNvCxnSpPr/>
          <p:nvPr userDrawn="1"/>
        </p:nvCxnSpPr>
        <p:spPr>
          <a:xfrm>
            <a:off x="509046" y="1008000"/>
            <a:ext cx="1118961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212623"/>
      </p:ext>
    </p:extLst>
  </p:cSld>
  <p:clrMap bg1="lt1" tx1="dk1" bg2="lt2" tx2="dk2" accent1="accent1" accent2="accent2" accent3="accent3" accent4="accent4" accent5="accent5" accent6="accent6" hlink="hlink" folHlink="folHlink"/>
  <p:sldLayoutIdLst>
    <p:sldLayoutId id="2147484244" r:id="rId1"/>
    <p:sldLayoutId id="2147484245" r:id="rId2"/>
    <p:sldLayoutId id="2147484246" r:id="rId3"/>
    <p:sldLayoutId id="2147484247" r:id="rId4"/>
    <p:sldLayoutId id="2147484248" r:id="rId5"/>
    <p:sldLayoutId id="2147484249" r:id="rId6"/>
    <p:sldLayoutId id="2147484250" r:id="rId7"/>
    <p:sldLayoutId id="2147484251" r:id="rId8"/>
    <p:sldLayoutId id="2147484252" r:id="rId9"/>
  </p:sldLayoutIdLst>
  <p:txStyles>
    <p:titleStyle>
      <a:lvl1pPr algn="l" defTabSz="685800" rtl="0" eaLnBrk="1" latinLnBrk="0" hangingPunct="1">
        <a:lnSpc>
          <a:spcPts val="4800"/>
        </a:lnSpc>
        <a:spcBef>
          <a:spcPct val="0"/>
        </a:spcBef>
        <a:buNone/>
        <a:defRPr sz="2500" b="0" kern="1200">
          <a:solidFill>
            <a:schemeClr val="accent1"/>
          </a:solidFill>
          <a:latin typeface="+mj-lt"/>
          <a:ea typeface="+mj-ea"/>
          <a:cs typeface="+mj-cs"/>
        </a:defRPr>
      </a:lvl1pPr>
    </p:titleStyle>
    <p:bodyStyle>
      <a:lvl1pPr marL="0" indent="0" algn="l" defTabSz="685800" rtl="0" eaLnBrk="1" latinLnBrk="0" hangingPunct="1">
        <a:lnSpc>
          <a:spcPct val="100000"/>
        </a:lnSpc>
        <a:spcBef>
          <a:spcPts val="1500"/>
        </a:spcBef>
        <a:buClr>
          <a:schemeClr val="accent2"/>
        </a:buClr>
        <a:buFont typeface="Arial" panose="020B0604020202020204" pitchFamily="34" charset="0"/>
        <a:buNone/>
        <a:defRPr sz="1800" kern="1200">
          <a:solidFill>
            <a:schemeClr val="accent1"/>
          </a:solidFill>
          <a:latin typeface="+mn-lt"/>
          <a:ea typeface="+mn-ea"/>
          <a:cs typeface="+mn-cs"/>
        </a:defRPr>
      </a:lvl1pPr>
      <a:lvl2pPr marL="171450" indent="-171450" algn="l" defTabSz="685800" rtl="0" eaLnBrk="1" latinLnBrk="0" hangingPunct="1">
        <a:lnSpc>
          <a:spcPct val="100000"/>
        </a:lnSpc>
        <a:spcBef>
          <a:spcPts val="0"/>
        </a:spcBef>
        <a:spcAft>
          <a:spcPts val="1500"/>
        </a:spcAft>
        <a:buClr>
          <a:schemeClr val="accent5"/>
        </a:buClr>
        <a:buFont typeface="Arial" panose="020B0604020202020204" pitchFamily="34" charset="0"/>
        <a:buChar char="•"/>
        <a:defRPr sz="1400" kern="1200">
          <a:solidFill>
            <a:schemeClr val="tx1"/>
          </a:solidFill>
          <a:latin typeface="+mn-lt"/>
          <a:ea typeface="+mn-ea"/>
          <a:cs typeface="+mn-cs"/>
        </a:defRPr>
      </a:lvl2pPr>
      <a:lvl3pPr marL="357188"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3793">
          <p15:clr>
            <a:srgbClr val="F26B43"/>
          </p15:clr>
        </p15:guide>
        <p15:guide id="3" orient="horz" pos="834">
          <p15:clr>
            <a:srgbClr val="F26B43"/>
          </p15:clr>
        </p15:guide>
        <p15:guide id="4" pos="6490">
          <p15:clr>
            <a:srgbClr val="F26B43"/>
          </p15:clr>
        </p15:guide>
        <p15:guide id="5" pos="3477">
          <p15:clr>
            <a:srgbClr val="F26B43"/>
          </p15:clr>
        </p15:guide>
        <p15:guide id="6" pos="735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5.xml"/></Relationships>
</file>

<file path=ppt/slides/_rels/slide2.xml.rels><?xml version="1.0" encoding="UTF-8" standalone="yes"?>
<Relationships xmlns="http://schemas.openxmlformats.org/package/2006/relationships"><Relationship Id="rId3" Type="http://schemas.microsoft.com/office/2018/10/relationships/comments" Target="../comments/modernComment_3ED1E_91C19751.xml"/><Relationship Id="rId2" Type="http://schemas.openxmlformats.org/officeDocument/2006/relationships/notesSlide" Target="../notesSlides/notesSlide2.xml"/><Relationship Id="rId1" Type="http://schemas.openxmlformats.org/officeDocument/2006/relationships/slideLayout" Target="../slideLayouts/slideLayout8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8A7FD6C-669C-49E2-8A61-FFF2CD66CFFE}"/>
              </a:ext>
            </a:extLst>
          </p:cNvPr>
          <p:cNvSpPr>
            <a:spLocks noGrp="1"/>
          </p:cNvSpPr>
          <p:nvPr>
            <p:ph type="ctrTitle"/>
          </p:nvPr>
        </p:nvSpPr>
        <p:spPr>
          <a:xfrm>
            <a:off x="1623544" y="1464553"/>
            <a:ext cx="8376119" cy="1532301"/>
          </a:xfrm>
        </p:spPr>
        <p:txBody>
          <a:bodyPr/>
          <a:lstStyle/>
          <a:p>
            <a:r>
              <a:rPr lang="en-IE"/>
              <a:t>V14.00.00 Schema Release Roadmap v3.0</a:t>
            </a:r>
          </a:p>
        </p:txBody>
      </p:sp>
      <p:sp>
        <p:nvSpPr>
          <p:cNvPr id="7" name="Subtitle 2">
            <a:extLst>
              <a:ext uri="{FF2B5EF4-FFF2-40B4-BE49-F238E27FC236}">
                <a16:creationId xmlns:a16="http://schemas.microsoft.com/office/drawing/2014/main" id="{A2A8F692-D027-40EA-BAA7-5DBCE4BB831E}"/>
              </a:ext>
            </a:extLst>
          </p:cNvPr>
          <p:cNvSpPr>
            <a:spLocks noGrp="1"/>
          </p:cNvSpPr>
          <p:nvPr>
            <p:ph type="subTitle" idx="1"/>
          </p:nvPr>
        </p:nvSpPr>
        <p:spPr>
          <a:xfrm>
            <a:off x="1623544" y="2996854"/>
            <a:ext cx="5741990" cy="968098"/>
          </a:xfrm>
        </p:spPr>
        <p:txBody>
          <a:bodyPr/>
          <a:lstStyle/>
          <a:p>
            <a:r>
              <a:rPr lang="en-GB" dirty="0"/>
              <a:t>March 2024</a:t>
            </a:r>
            <a:endParaRPr lang="en-IE" dirty="0"/>
          </a:p>
        </p:txBody>
      </p:sp>
    </p:spTree>
    <p:extLst>
      <p:ext uri="{BB962C8B-B14F-4D97-AF65-F5344CB8AC3E}">
        <p14:creationId xmlns:p14="http://schemas.microsoft.com/office/powerpoint/2010/main" val="4083202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CFC3A-B2E8-4F48-8027-60CD710926B0}"/>
              </a:ext>
            </a:extLst>
          </p:cNvPr>
          <p:cNvSpPr>
            <a:spLocks noGrp="1"/>
          </p:cNvSpPr>
          <p:nvPr>
            <p:ph type="title"/>
          </p:nvPr>
        </p:nvSpPr>
        <p:spPr/>
        <p:txBody>
          <a:bodyPr/>
          <a:lstStyle/>
          <a:p>
            <a:r>
              <a:rPr lang="en-GB" sz="2400" b="1"/>
              <a:t>V14.00.00 Schema Release Roadmap - Approach</a:t>
            </a:r>
            <a:br>
              <a:rPr lang="en-IE" sz="2400" b="1"/>
            </a:br>
            <a:endParaRPr lang="en-GB"/>
          </a:p>
        </p:txBody>
      </p:sp>
      <p:sp>
        <p:nvSpPr>
          <p:cNvPr id="4" name="Content Placeholder 2">
            <a:extLst>
              <a:ext uri="{FF2B5EF4-FFF2-40B4-BE49-F238E27FC236}">
                <a16:creationId xmlns:a16="http://schemas.microsoft.com/office/drawing/2014/main" id="{41825E9A-DF3E-44B2-A2BB-5D3F04B1C432}"/>
              </a:ext>
            </a:extLst>
          </p:cNvPr>
          <p:cNvSpPr>
            <a:spLocks noGrp="1"/>
          </p:cNvSpPr>
          <p:nvPr>
            <p:ph idx="1"/>
          </p:nvPr>
        </p:nvSpPr>
        <p:spPr>
          <a:xfrm>
            <a:off x="660400" y="1032215"/>
            <a:ext cx="10805886" cy="5513728"/>
          </a:xfrm>
          <a:solidFill>
            <a:schemeClr val="tx2"/>
          </a:solidFill>
        </p:spPr>
        <p:txBody>
          <a:bodyPr/>
          <a:lstStyle/>
          <a:p>
            <a:pPr marL="285750" indent="-285750">
              <a:spcBef>
                <a:spcPts val="0"/>
              </a:spcBef>
              <a:buClr>
                <a:schemeClr val="tx1">
                  <a:lumMod val="75000"/>
                </a:schemeClr>
              </a:buClr>
              <a:buFont typeface="Arial" panose="020B0604020202020204" pitchFamily="34" charset="0"/>
              <a:buChar char="•"/>
            </a:pPr>
            <a:r>
              <a:rPr lang="en-IE" sz="1400"/>
              <a:t>Market Schema Guide</a:t>
            </a:r>
          </a:p>
          <a:p>
            <a:pPr marL="742950" lvl="1" indent="-285750">
              <a:spcAft>
                <a:spcPts val="500"/>
              </a:spcAft>
              <a:buFont typeface="Courier New" panose="02070309020205020404" pitchFamily="49" charset="0"/>
              <a:buChar char="o"/>
            </a:pPr>
            <a:r>
              <a:rPr lang="en-IE" sz="1300"/>
              <a:t>v14.00.00 Working v6.0 Draft 2 released 01/08/2023</a:t>
            </a:r>
          </a:p>
          <a:p>
            <a:pPr marL="742950" lvl="1" indent="-285750">
              <a:spcAft>
                <a:spcPts val="500"/>
              </a:spcAft>
              <a:buFont typeface="Courier New" panose="02070309020205020404" pitchFamily="49" charset="0"/>
              <a:buChar char="o"/>
            </a:pPr>
            <a:endParaRPr lang="en-IE" sz="1400" b="1"/>
          </a:p>
          <a:p>
            <a:pPr marL="285750" indent="-285750">
              <a:spcBef>
                <a:spcPts val="0"/>
              </a:spcBef>
              <a:buClr>
                <a:schemeClr val="tx1">
                  <a:lumMod val="75000"/>
                </a:schemeClr>
              </a:buClr>
              <a:buFont typeface="Arial" panose="020B0604020202020204" pitchFamily="34" charset="0"/>
              <a:buChar char="•"/>
            </a:pPr>
            <a:r>
              <a:rPr lang="en-IE" sz="1400"/>
              <a:t>Schema Release Strategy &amp; Timeline</a:t>
            </a:r>
          </a:p>
          <a:p>
            <a:pPr marL="742950" lvl="1" indent="-285750">
              <a:spcAft>
                <a:spcPts val="500"/>
              </a:spcAft>
              <a:buClr>
                <a:schemeClr val="tx1">
                  <a:lumMod val="75000"/>
                </a:schemeClr>
              </a:buClr>
              <a:buFont typeface="Arial" panose="020B0604020202020204" pitchFamily="34" charset="0"/>
              <a:buChar char="•"/>
            </a:pPr>
            <a:r>
              <a:rPr lang="en-IE" sz="1300"/>
              <a:t>The timeline below outlines the roadmap for the early release of draft v14.00.00 Schema during the Market Release Phase 2 project lifecycle</a:t>
            </a:r>
          </a:p>
          <a:p>
            <a:pPr marL="742950" lvl="1" indent="-285750">
              <a:spcAft>
                <a:spcPts val="500"/>
              </a:spcAft>
              <a:buClr>
                <a:schemeClr val="tx1">
                  <a:lumMod val="75000"/>
                </a:schemeClr>
              </a:buClr>
              <a:buFont typeface="Arial" panose="020B0604020202020204" pitchFamily="34" charset="0"/>
              <a:buChar char="•"/>
            </a:pPr>
            <a:r>
              <a:rPr lang="en-IE" sz="1300"/>
              <a:t>The draft copies of the schema may be subject to corrections, should it be found necessary, as testing advances</a:t>
            </a:r>
          </a:p>
          <a:p>
            <a:pPr marL="742950" lvl="1" indent="-285750">
              <a:spcAft>
                <a:spcPts val="500"/>
              </a:spcAft>
              <a:buClr>
                <a:schemeClr val="tx1">
                  <a:lumMod val="75000"/>
                </a:schemeClr>
              </a:buClr>
              <a:buFont typeface="Arial" panose="020B0604020202020204" pitchFamily="34" charset="0"/>
              <a:buChar char="•"/>
            </a:pPr>
            <a:r>
              <a:rPr lang="en-IE" sz="1300"/>
              <a:t>In the event of a change required to the schema as a result of a new approved market change, the timeline will be subject to review</a:t>
            </a:r>
          </a:p>
          <a:p>
            <a:pPr marL="1323975" lvl="3" indent="-285750">
              <a:spcAft>
                <a:spcPts val="500"/>
              </a:spcAft>
              <a:buClr>
                <a:schemeClr val="tx1">
                  <a:lumMod val="75000"/>
                </a:schemeClr>
              </a:buClr>
              <a:buFont typeface="Arial" panose="020B0604020202020204" pitchFamily="34" charset="0"/>
              <a:buChar char="•"/>
            </a:pPr>
            <a:endParaRPr lang="en-IE" sz="1300">
              <a:solidFill>
                <a:srgbClr val="336699"/>
              </a:solidFill>
            </a:endParaRPr>
          </a:p>
          <a:p>
            <a:pPr marL="742950" lvl="1" indent="-285750">
              <a:spcAft>
                <a:spcPts val="500"/>
              </a:spcAft>
              <a:buClr>
                <a:schemeClr val="tx1">
                  <a:lumMod val="75000"/>
                </a:schemeClr>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endParaRPr lang="en-IE" sz="1300"/>
          </a:p>
          <a:p>
            <a:pPr marL="742950" lvl="1" indent="-285750">
              <a:spcAft>
                <a:spcPts val="500"/>
              </a:spcAft>
              <a:buClr>
                <a:srgbClr val="264D73"/>
              </a:buClr>
              <a:buFont typeface="Arial" panose="020B0604020202020204" pitchFamily="34" charset="0"/>
              <a:buChar char="•"/>
            </a:pPr>
            <a:r>
              <a:rPr lang="en-IE" sz="1300"/>
              <a:t>No schema will be released outside the planned timeline</a:t>
            </a:r>
            <a:endParaRPr lang="en-IE"/>
          </a:p>
          <a:p>
            <a:pPr marL="742950" lvl="1" indent="-285750">
              <a:spcAft>
                <a:spcPts val="500"/>
              </a:spcAft>
              <a:buClr>
                <a:schemeClr val="tx1">
                  <a:lumMod val="75000"/>
                </a:schemeClr>
              </a:buClr>
              <a:buFont typeface="Arial" panose="020B0604020202020204" pitchFamily="34" charset="0"/>
              <a:buChar char="•"/>
            </a:pPr>
            <a:r>
              <a:rPr lang="en-IE" sz="1300"/>
              <a:t>Each draft schema is issued for design/test purposes only and </a:t>
            </a:r>
            <a:r>
              <a:rPr lang="en-IE" sz="1300" u="sng"/>
              <a:t>must not be applied</a:t>
            </a:r>
            <a:r>
              <a:rPr lang="en-IE" sz="1300"/>
              <a:t> to production market messaging environment prior to the v14.00.00 cutover</a:t>
            </a:r>
            <a:endParaRPr lang="en-IE"/>
          </a:p>
        </p:txBody>
      </p:sp>
      <p:graphicFrame>
        <p:nvGraphicFramePr>
          <p:cNvPr id="3" name="Table 2">
            <a:extLst>
              <a:ext uri="{FF2B5EF4-FFF2-40B4-BE49-F238E27FC236}">
                <a16:creationId xmlns:a16="http://schemas.microsoft.com/office/drawing/2014/main" id="{F6746E20-92FE-F01D-CEC1-AC4718664EC6}"/>
              </a:ext>
            </a:extLst>
          </p:cNvPr>
          <p:cNvGraphicFramePr>
            <a:graphicFrameLocks noGrp="1"/>
          </p:cNvGraphicFramePr>
          <p:nvPr>
            <p:extLst>
              <p:ext uri="{D42A27DB-BD31-4B8C-83A1-F6EECF244321}">
                <p14:modId xmlns:p14="http://schemas.microsoft.com/office/powerpoint/2010/main" val="2359427190"/>
              </p:ext>
            </p:extLst>
          </p:nvPr>
        </p:nvGraphicFramePr>
        <p:xfrm>
          <a:off x="1327291" y="3283543"/>
          <a:ext cx="9468995" cy="2194560"/>
        </p:xfrm>
        <a:graphic>
          <a:graphicData uri="http://schemas.openxmlformats.org/drawingml/2006/table">
            <a:tbl>
              <a:tblPr firstRow="1" bandRow="1">
                <a:tableStyleId>{C083E6E3-FA7D-4D7B-A595-EF9225AFEA82}</a:tableStyleId>
              </a:tblPr>
              <a:tblGrid>
                <a:gridCol w="1774714">
                  <a:extLst>
                    <a:ext uri="{9D8B030D-6E8A-4147-A177-3AD203B41FA5}">
                      <a16:colId xmlns:a16="http://schemas.microsoft.com/office/drawing/2014/main" val="1153103856"/>
                    </a:ext>
                  </a:extLst>
                </a:gridCol>
                <a:gridCol w="1606167">
                  <a:extLst>
                    <a:ext uri="{9D8B030D-6E8A-4147-A177-3AD203B41FA5}">
                      <a16:colId xmlns:a16="http://schemas.microsoft.com/office/drawing/2014/main" val="903834819"/>
                    </a:ext>
                  </a:extLst>
                </a:gridCol>
                <a:gridCol w="971633">
                  <a:extLst>
                    <a:ext uri="{9D8B030D-6E8A-4147-A177-3AD203B41FA5}">
                      <a16:colId xmlns:a16="http://schemas.microsoft.com/office/drawing/2014/main" val="2774698009"/>
                    </a:ext>
                  </a:extLst>
                </a:gridCol>
                <a:gridCol w="5116481">
                  <a:extLst>
                    <a:ext uri="{9D8B030D-6E8A-4147-A177-3AD203B41FA5}">
                      <a16:colId xmlns:a16="http://schemas.microsoft.com/office/drawing/2014/main" val="543583728"/>
                    </a:ext>
                  </a:extLst>
                </a:gridCol>
              </a:tblGrid>
              <a:tr h="365760">
                <a:tc>
                  <a:txBody>
                    <a:bodyPr/>
                    <a:lstStyle/>
                    <a:p>
                      <a:pPr algn="l"/>
                      <a:r>
                        <a:rPr lang="en-GB" sz="1000" b="1"/>
                        <a:t>Draft 1</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End Nov 2022</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GB" sz="1000" b="1">
                          <a:solidFill>
                            <a:srgbClr val="00B050"/>
                          </a:solidFill>
                        </a:rPr>
                        <a:t>Issued</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IE" sz="1000" b="0" i="0" u="none" strike="noStrike" noProof="0">
                          <a:solidFill>
                            <a:srgbClr val="336699"/>
                          </a:solidFill>
                          <a:latin typeface="Arial"/>
                        </a:rPr>
                        <a:t>Initial draft post schema build, prior to validation/testing</a:t>
                      </a:r>
                      <a:endParaRPr lang="en-US" sz="1000"/>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85257271"/>
                  </a:ext>
                </a:extLst>
              </a:tr>
              <a:tr h="365760">
                <a:tc>
                  <a:txBody>
                    <a:bodyPr/>
                    <a:lstStyle/>
                    <a:p>
                      <a:pPr algn="l"/>
                      <a:r>
                        <a:rPr lang="en-GB" sz="1000" b="1"/>
                        <a:t>Draft 2</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End Jul 2023</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GB" sz="1000" b="1">
                          <a:solidFill>
                            <a:srgbClr val="00B050"/>
                          </a:solidFill>
                        </a:rPr>
                        <a:t>Issued</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lnSpc>
                          <a:spcPct val="100000"/>
                        </a:lnSpc>
                        <a:spcBef>
                          <a:spcPts val="0"/>
                        </a:spcBef>
                        <a:spcAft>
                          <a:spcPts val="0"/>
                        </a:spcAft>
                        <a:buNone/>
                      </a:pPr>
                      <a:r>
                        <a:rPr lang="en-IE" sz="1000" b="0" i="0" u="none" strike="noStrike" noProof="0">
                          <a:solidFill>
                            <a:srgbClr val="336699"/>
                          </a:solidFill>
                          <a:latin typeface="Arial"/>
                        </a:rPr>
                        <a:t>Post validation checks </a:t>
                      </a:r>
                      <a:endParaRPr lang="en-GB" sz="1000" b="0" i="0" u="none" strike="noStrike" noProof="0">
                        <a:solidFill>
                          <a:srgbClr val="000000"/>
                        </a:solidFill>
                        <a:latin typeface="Arial"/>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962401431"/>
                  </a:ext>
                </a:extLst>
              </a:tr>
              <a:tr h="365760">
                <a:tc>
                  <a:txBody>
                    <a:bodyPr/>
                    <a:lstStyle/>
                    <a:p>
                      <a:pPr algn="l"/>
                      <a:r>
                        <a:rPr lang="en-GB" sz="1000" b="1"/>
                        <a:t>Draft 3</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End Mar 2024</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endParaRPr lang="en-GB" sz="1000" b="0"/>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endParaRPr lang="en-GB" sz="1000" b="0" i="0" u="none" strike="noStrike" baseline="0" noProof="0">
                        <a:solidFill>
                          <a:srgbClr val="336699"/>
                        </a:solidFill>
                        <a:latin typeface="Arial"/>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615359871"/>
                  </a:ext>
                </a:extLst>
              </a:tr>
              <a:tr h="365760">
                <a:tc>
                  <a:txBody>
                    <a:bodyPr/>
                    <a:lstStyle/>
                    <a:p>
                      <a:pPr algn="l"/>
                      <a:r>
                        <a:rPr lang="en-GB" sz="1000" b="1"/>
                        <a:t>Draft 3.1</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End Apr 2024</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endParaRPr lang="en-GB" sz="1000" b="0"/>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IE" sz="1000" b="0" i="0" u="none" strike="noStrike" noProof="0">
                          <a:solidFill>
                            <a:srgbClr val="336699"/>
                          </a:solidFill>
                          <a:latin typeface="Arial"/>
                        </a:rPr>
                        <a:t>Placeholder should clarifications/corrections be required Post-SIT</a:t>
                      </a:r>
                      <a:endParaRPr lang="en-US" sz="1000"/>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570348868"/>
                  </a:ext>
                </a:extLst>
              </a:tr>
              <a:tr h="365760">
                <a:tc>
                  <a:txBody>
                    <a:bodyPr/>
                    <a:lstStyle/>
                    <a:p>
                      <a:pPr algn="l"/>
                      <a:r>
                        <a:rPr lang="en-GB" sz="1000" b="1"/>
                        <a:t>Draft 4</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Aug 2024</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endParaRPr lang="en-GB" sz="1000" b="0"/>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IE" sz="1000" b="0" i="0" u="none" strike="noStrike" noProof="0">
                          <a:solidFill>
                            <a:srgbClr val="336699"/>
                          </a:solidFill>
                          <a:latin typeface="Arial"/>
                        </a:rPr>
                        <a:t>Final schema draft issued 3 months prior to go live (pre IPT Execution)</a:t>
                      </a:r>
                      <a:endParaRPr lang="en-US" sz="1000"/>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669650722"/>
                  </a:ext>
                </a:extLst>
              </a:tr>
              <a:tr h="365760">
                <a:tc>
                  <a:txBody>
                    <a:bodyPr/>
                    <a:lstStyle/>
                    <a:p>
                      <a:pPr algn="l"/>
                      <a:r>
                        <a:rPr lang="en-GB" sz="1000" b="1"/>
                        <a:t>Final Schema</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l"/>
                      <a:r>
                        <a:rPr lang="en-GB" sz="1000" b="0"/>
                        <a:t>Nov 2024</a:t>
                      </a: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endParaRPr lang="en-GB" sz="1000" b="0"/>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lvl="0" algn="l">
                        <a:buNone/>
                      </a:pPr>
                      <a:r>
                        <a:rPr lang="en-IE" sz="1000" b="0" i="0" u="none" strike="noStrike" noProof="0">
                          <a:solidFill>
                            <a:srgbClr val="336699"/>
                          </a:solidFill>
                          <a:latin typeface="Arial"/>
                        </a:rPr>
                        <a:t>Issued post successful completion of IPT as part of Cutover readiness</a:t>
                      </a:r>
                      <a:endParaRPr lang="en-US" sz="1000"/>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885950974"/>
                  </a:ext>
                </a:extLst>
              </a:tr>
            </a:tbl>
          </a:graphicData>
        </a:graphic>
      </p:graphicFrame>
    </p:spTree>
    <p:extLst>
      <p:ext uri="{BB962C8B-B14F-4D97-AF65-F5344CB8AC3E}">
        <p14:creationId xmlns:p14="http://schemas.microsoft.com/office/powerpoint/2010/main" val="2445383505"/>
      </p:ext>
    </p:extLst>
  </p:cSld>
  <p:clrMapOvr>
    <a:masterClrMapping/>
  </p:clrMapOvr>
  <p:extLst>
    <p:ext uri="{6950BFC3-D8DA-4A85-94F7-54DA5524770B}">
      <p188:commentRel xmlns:p188="http://schemas.microsoft.com/office/powerpoint/2018/8/main" r:id="rId3"/>
    </p:ext>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CFC3A-B2E8-4F48-8027-60CD710926B0}"/>
              </a:ext>
            </a:extLst>
          </p:cNvPr>
          <p:cNvSpPr>
            <a:spLocks noGrp="1"/>
          </p:cNvSpPr>
          <p:nvPr>
            <p:ph type="title"/>
          </p:nvPr>
        </p:nvSpPr>
        <p:spPr/>
        <p:txBody>
          <a:bodyPr/>
          <a:lstStyle/>
          <a:p>
            <a:r>
              <a:rPr lang="en-GB" sz="2400" b="1"/>
              <a:t>V14.00.00 Schema Release Roadmap - Approach</a:t>
            </a:r>
            <a:br>
              <a:rPr lang="en-IE" sz="2400" b="1"/>
            </a:br>
            <a:endParaRPr lang="en-GB"/>
          </a:p>
        </p:txBody>
      </p:sp>
      <p:sp>
        <p:nvSpPr>
          <p:cNvPr id="4" name="Content Placeholder 2">
            <a:extLst>
              <a:ext uri="{FF2B5EF4-FFF2-40B4-BE49-F238E27FC236}">
                <a16:creationId xmlns:a16="http://schemas.microsoft.com/office/drawing/2014/main" id="{41825E9A-DF3E-44B2-A2BB-5D3F04B1C432}"/>
              </a:ext>
            </a:extLst>
          </p:cNvPr>
          <p:cNvSpPr>
            <a:spLocks noGrp="1"/>
          </p:cNvSpPr>
          <p:nvPr>
            <p:ph idx="1"/>
          </p:nvPr>
        </p:nvSpPr>
        <p:spPr>
          <a:xfrm>
            <a:off x="660400" y="978581"/>
            <a:ext cx="10831512" cy="6131379"/>
          </a:xfrm>
        </p:spPr>
        <p:txBody>
          <a:bodyPr/>
          <a:lstStyle/>
          <a:p>
            <a:pPr marL="285750" indent="-285750">
              <a:spcBef>
                <a:spcPts val="0"/>
              </a:spcBef>
              <a:buClr>
                <a:schemeClr val="tx1">
                  <a:lumMod val="75000"/>
                </a:schemeClr>
              </a:buClr>
              <a:buFont typeface="Arial" panose="020B0604020202020204" pitchFamily="34" charset="0"/>
              <a:buChar char="•"/>
            </a:pPr>
            <a:r>
              <a:rPr lang="en-IE" sz="1400"/>
              <a:t>Release Content</a:t>
            </a:r>
          </a:p>
          <a:p>
            <a:pPr marL="742950" lvl="1" indent="-285750">
              <a:spcAft>
                <a:spcPts val="500"/>
              </a:spcAft>
              <a:buClr>
                <a:schemeClr val="tx1">
                  <a:lumMod val="75000"/>
                </a:schemeClr>
              </a:buClr>
              <a:buFont typeface="Arial" panose="020B0604020202020204" pitchFamily="34" charset="0"/>
              <a:buChar char="•"/>
            </a:pPr>
            <a:r>
              <a:rPr lang="en-IE" sz="1300"/>
              <a:t>XSD Files</a:t>
            </a:r>
          </a:p>
          <a:p>
            <a:pPr marL="742950" lvl="1" indent="-285750">
              <a:spcAft>
                <a:spcPts val="500"/>
              </a:spcAft>
              <a:buClr>
                <a:schemeClr val="tx1">
                  <a:lumMod val="75000"/>
                </a:schemeClr>
              </a:buClr>
              <a:buFont typeface="Arial" panose="020B0604020202020204" pitchFamily="34" charset="0"/>
              <a:buChar char="•"/>
            </a:pPr>
            <a:r>
              <a:rPr lang="en-IE" sz="1300"/>
              <a:t>Market Schema Guide v6.0 Working Draft 2 (Subsequent drafts will be aligned to MCR Revisioning activity as required)</a:t>
            </a:r>
          </a:p>
          <a:p>
            <a:pPr marL="742950" lvl="1" indent="-285750">
              <a:spcBef>
                <a:spcPts val="0"/>
              </a:spcBef>
              <a:spcAft>
                <a:spcPts val="500"/>
              </a:spcAft>
              <a:buClr>
                <a:schemeClr val="tx1">
                  <a:lumMod val="75000"/>
                </a:schemeClr>
              </a:buClr>
              <a:buFont typeface="Arial" panose="020B0604020202020204" pitchFamily="34" charset="0"/>
              <a:buChar char="•"/>
            </a:pPr>
            <a:r>
              <a:rPr lang="en-IE" sz="1300"/>
              <a:t>Release Notes and Caveats </a:t>
            </a:r>
            <a:br>
              <a:rPr lang="en-IE" sz="1300">
                <a:ea typeface="+mn-lt"/>
              </a:rPr>
            </a:br>
            <a:endParaRPr lang="en-IE" b="1"/>
          </a:p>
          <a:p>
            <a:pPr marL="285750" indent="-285750">
              <a:spcBef>
                <a:spcPts val="0"/>
              </a:spcBef>
              <a:buClr>
                <a:schemeClr val="tx1">
                  <a:lumMod val="75000"/>
                </a:schemeClr>
              </a:buClr>
              <a:buFont typeface="Arial" panose="020B0604020202020204" pitchFamily="34" charset="0"/>
              <a:buChar char="•"/>
            </a:pPr>
            <a:r>
              <a:rPr lang="en-IE" sz="1400"/>
              <a:t>Version Control Process</a:t>
            </a:r>
          </a:p>
          <a:p>
            <a:pPr marL="742950" lvl="1" indent="-285750">
              <a:spcAft>
                <a:spcPts val="500"/>
              </a:spcAft>
              <a:buClr>
                <a:schemeClr val="tx1">
                  <a:lumMod val="75000"/>
                </a:schemeClr>
              </a:buClr>
              <a:buFont typeface="Arial" panose="020B0604020202020204" pitchFamily="34" charset="0"/>
              <a:buChar char="•"/>
            </a:pPr>
            <a:r>
              <a:rPr lang="en-IE" sz="1300"/>
              <a:t>Draft schemas may be subject to correction </a:t>
            </a:r>
            <a:r>
              <a:rPr lang="en-IE" sz="1300" i="1"/>
              <a:t>(as outlined In Release Strategy on previous slide)</a:t>
            </a:r>
          </a:p>
          <a:p>
            <a:pPr marL="742950" lvl="1" indent="-285750">
              <a:spcAft>
                <a:spcPts val="500"/>
              </a:spcAft>
              <a:buClr>
                <a:schemeClr val="tx1">
                  <a:lumMod val="75000"/>
                </a:schemeClr>
              </a:buClr>
              <a:buFont typeface="Arial" panose="020B0604020202020204" pitchFamily="34" charset="0"/>
              <a:buChar char="•"/>
            </a:pPr>
            <a:r>
              <a:rPr lang="en-IE" sz="1300"/>
              <a:t>Release notes will issue with each draft detailing any corrections</a:t>
            </a:r>
          </a:p>
          <a:p>
            <a:pPr marL="742950" lvl="1" indent="-285750">
              <a:spcAft>
                <a:spcPts val="500"/>
              </a:spcAft>
              <a:buClr>
                <a:schemeClr val="tx1">
                  <a:lumMod val="75000"/>
                </a:schemeClr>
              </a:buClr>
              <a:buFont typeface="Arial" panose="020B0604020202020204" pitchFamily="34" charset="0"/>
              <a:buChar char="•"/>
            </a:pPr>
            <a:r>
              <a:rPr lang="en-IE" sz="1300"/>
              <a:t>Schema drafts will be released as per agreed timeline</a:t>
            </a:r>
            <a:br>
              <a:rPr lang="en-IE" sz="1300">
                <a:ea typeface="+mn-lt"/>
              </a:rPr>
            </a:br>
            <a:endParaRPr lang="en-IE" sz="1400" b="1">
              <a:solidFill>
                <a:srgbClr val="003C71"/>
              </a:solidFill>
              <a:ea typeface="+mn-ea"/>
            </a:endParaRPr>
          </a:p>
          <a:p>
            <a:pPr marL="285750" indent="-285750">
              <a:spcBef>
                <a:spcPts val="0"/>
              </a:spcBef>
              <a:buClr>
                <a:schemeClr val="tx1">
                  <a:lumMod val="75000"/>
                </a:schemeClr>
              </a:buClr>
              <a:buFont typeface="Arial" panose="020B0604020202020204" pitchFamily="34" charset="0"/>
              <a:buChar char="•"/>
            </a:pPr>
            <a:r>
              <a:rPr lang="en-IE" sz="1400"/>
              <a:t>Approach communicated with all relevant parties</a:t>
            </a:r>
          </a:p>
          <a:p>
            <a:pPr marL="742950" lvl="1" indent="-285750">
              <a:spcAft>
                <a:spcPts val="500"/>
              </a:spcAft>
              <a:buClr>
                <a:schemeClr val="tx1">
                  <a:lumMod val="75000"/>
                </a:schemeClr>
              </a:buClr>
              <a:buFont typeface="Arial" panose="020B0604020202020204" pitchFamily="34" charset="0"/>
              <a:buChar char="•"/>
            </a:pPr>
            <a:r>
              <a:rPr lang="en-IE" sz="1300"/>
              <a:t>RMDS, Market Participants</a:t>
            </a:r>
            <a:br>
              <a:rPr lang="en-IE" sz="1300">
                <a:ea typeface="+mn-lt"/>
              </a:rPr>
            </a:br>
            <a:endParaRPr lang="en-IE" sz="1300"/>
          </a:p>
          <a:p>
            <a:pPr marL="285750" indent="-285750">
              <a:spcBef>
                <a:spcPts val="0"/>
              </a:spcBef>
              <a:buClr>
                <a:schemeClr val="tx1">
                  <a:lumMod val="75000"/>
                </a:schemeClr>
              </a:buClr>
              <a:buFont typeface="Arial" panose="020B0604020202020204" pitchFamily="34" charset="0"/>
              <a:buChar char="•"/>
            </a:pPr>
            <a:r>
              <a:rPr lang="en-IE" sz="1400"/>
              <a:t>Method of Sharing Schema</a:t>
            </a:r>
          </a:p>
          <a:p>
            <a:pPr marL="742950" lvl="1" indent="-285750">
              <a:spcAft>
                <a:spcPts val="500"/>
              </a:spcAft>
              <a:buClr>
                <a:schemeClr val="tx1">
                  <a:lumMod val="75000"/>
                </a:schemeClr>
              </a:buClr>
              <a:buFont typeface="Arial" panose="020B0604020202020204" pitchFamily="34" charset="0"/>
              <a:buChar char="•"/>
            </a:pPr>
            <a:r>
              <a:rPr lang="en-IE" sz="1300"/>
              <a:t>RMDS will issue each draft schema </a:t>
            </a:r>
          </a:p>
          <a:p>
            <a:pPr marL="742950" lvl="1" indent="-285750">
              <a:spcAft>
                <a:spcPts val="200"/>
              </a:spcAft>
              <a:buClr>
                <a:schemeClr val="tx1">
                  <a:lumMod val="75000"/>
                </a:schemeClr>
              </a:buClr>
              <a:buFont typeface="Arial" panose="020B0604020202020204" pitchFamily="34" charset="0"/>
              <a:buChar char="•"/>
            </a:pPr>
            <a:endParaRPr lang="en-IE" sz="1200" b="1" i="1"/>
          </a:p>
          <a:p>
            <a:pPr marL="285750" indent="-285750">
              <a:spcBef>
                <a:spcPts val="0"/>
              </a:spcBef>
              <a:buClr>
                <a:schemeClr val="tx1">
                  <a:lumMod val="75000"/>
                </a:schemeClr>
              </a:buClr>
              <a:buFont typeface="Arial" panose="020B0604020202020204" pitchFamily="34" charset="0"/>
              <a:buChar char="•"/>
            </a:pPr>
            <a:r>
              <a:rPr lang="en-IE" sz="1400"/>
              <a:t>Supplier Queries</a:t>
            </a:r>
          </a:p>
          <a:p>
            <a:pPr marL="742950" lvl="1" indent="-285750">
              <a:spcAft>
                <a:spcPts val="200"/>
              </a:spcAft>
              <a:buClr>
                <a:schemeClr val="tx1">
                  <a:lumMod val="75000"/>
                </a:schemeClr>
              </a:buClr>
              <a:buFont typeface="Arial" panose="020B0604020202020204" pitchFamily="34" charset="0"/>
              <a:buChar char="•"/>
            </a:pPr>
            <a:r>
              <a:rPr lang="en-IE" sz="1300"/>
              <a:t>All queries to be directed to </a:t>
            </a:r>
            <a:r>
              <a:rPr lang="en-IE" altLang="en-US" sz="1300"/>
              <a:t>RMDS@esb.ie </a:t>
            </a:r>
            <a:r>
              <a:rPr lang="en-IE" sz="1300"/>
              <a:t>using standard template marked as ‘Schema’</a:t>
            </a:r>
          </a:p>
          <a:p>
            <a:pPr marL="791845" lvl="2" indent="-285750">
              <a:buClr>
                <a:schemeClr val="tx1">
                  <a:lumMod val="75000"/>
                </a:schemeClr>
              </a:buClr>
              <a:buFont typeface="Arial" panose="020B0604020202020204" pitchFamily="34" charset="0"/>
              <a:buChar char="•"/>
            </a:pPr>
            <a:endParaRPr lang="en-IE" sz="1300" b="1"/>
          </a:p>
          <a:p>
            <a:endParaRPr lang="en-IE"/>
          </a:p>
        </p:txBody>
      </p:sp>
    </p:spTree>
    <p:extLst>
      <p:ext uri="{BB962C8B-B14F-4D97-AF65-F5344CB8AC3E}">
        <p14:creationId xmlns:p14="http://schemas.microsoft.com/office/powerpoint/2010/main" val="197788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DCFC3A-B2E8-4F48-8027-60CD710926B0}"/>
              </a:ext>
            </a:extLst>
          </p:cNvPr>
          <p:cNvSpPr>
            <a:spLocks noGrp="1"/>
          </p:cNvSpPr>
          <p:nvPr>
            <p:ph type="title"/>
          </p:nvPr>
        </p:nvSpPr>
        <p:spPr>
          <a:xfrm>
            <a:off x="649076" y="398464"/>
            <a:ext cx="8892117" cy="536575"/>
          </a:xfrm>
        </p:spPr>
        <p:txBody>
          <a:bodyPr/>
          <a:lstStyle/>
          <a:p>
            <a:r>
              <a:rPr lang="en-GB"/>
              <a:t>v14.00.00 Schema Release Timeline</a:t>
            </a:r>
            <a:br>
              <a:rPr lang="en-IE" sz="2400" b="1"/>
            </a:br>
            <a:endParaRPr lang="en-GB"/>
          </a:p>
        </p:txBody>
      </p:sp>
      <p:graphicFrame>
        <p:nvGraphicFramePr>
          <p:cNvPr id="5" name="Table 4">
            <a:extLst>
              <a:ext uri="{FF2B5EF4-FFF2-40B4-BE49-F238E27FC236}">
                <a16:creationId xmlns:a16="http://schemas.microsoft.com/office/drawing/2014/main" id="{6670DAB7-7CAE-4BEA-8DEA-221A5B41A1B8}"/>
              </a:ext>
            </a:extLst>
          </p:cNvPr>
          <p:cNvGraphicFramePr>
            <a:graphicFrameLocks noGrp="1"/>
          </p:cNvGraphicFramePr>
          <p:nvPr/>
        </p:nvGraphicFramePr>
        <p:xfrm>
          <a:off x="359687" y="1202616"/>
          <a:ext cx="1060129" cy="4487504"/>
        </p:xfrm>
        <a:graphic>
          <a:graphicData uri="http://schemas.openxmlformats.org/drawingml/2006/table">
            <a:tbl>
              <a:tblPr firstRow="1" bandRow="1"/>
              <a:tblGrid>
                <a:gridCol w="1060129">
                  <a:extLst>
                    <a:ext uri="{9D8B030D-6E8A-4147-A177-3AD203B41FA5}">
                      <a16:colId xmlns:a16="http://schemas.microsoft.com/office/drawing/2014/main" val="3993235721"/>
                    </a:ext>
                  </a:extLst>
                </a:gridCol>
              </a:tblGrid>
              <a:tr h="317551">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pPr algn="ctr"/>
                      <a:endParaRPr lang="en-GB" sz="800" b="1">
                        <a:solidFill>
                          <a:schemeClr val="tx2"/>
                        </a:solidFill>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extLst>
                  <a:ext uri="{0D108BD9-81ED-4DB2-BD59-A6C34878D82A}">
                    <a16:rowId xmlns:a16="http://schemas.microsoft.com/office/drawing/2014/main" val="10000"/>
                  </a:ext>
                </a:extLst>
              </a:tr>
              <a:tr h="284125">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endParaRPr lang="en-GB" sz="800" b="1">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extLst>
                  <a:ext uri="{0D108BD9-81ED-4DB2-BD59-A6C34878D82A}">
                    <a16:rowId xmlns:a16="http://schemas.microsoft.com/office/drawing/2014/main" val="10001"/>
                  </a:ext>
                </a:extLst>
              </a:tr>
              <a:tr h="3885828">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009FDF">
                        <a:lumMod val="40000"/>
                        <a:lumOff val="60000"/>
                      </a:srgbClr>
                    </a:solidFill>
                  </a:tcPr>
                </a:tc>
                <a:extLst>
                  <a:ext uri="{0D108BD9-81ED-4DB2-BD59-A6C34878D82A}">
                    <a16:rowId xmlns:a16="http://schemas.microsoft.com/office/drawing/2014/main" val="10002"/>
                  </a:ext>
                </a:extLst>
              </a:tr>
            </a:tbl>
          </a:graphicData>
        </a:graphic>
      </p:graphicFrame>
      <p:graphicFrame>
        <p:nvGraphicFramePr>
          <p:cNvPr id="7" name="Table 6">
            <a:extLst>
              <a:ext uri="{FF2B5EF4-FFF2-40B4-BE49-F238E27FC236}">
                <a16:creationId xmlns:a16="http://schemas.microsoft.com/office/drawing/2014/main" id="{37062EB4-A15E-429A-A150-E35CC823BA50}"/>
              </a:ext>
            </a:extLst>
          </p:cNvPr>
          <p:cNvGraphicFramePr>
            <a:graphicFrameLocks noGrp="1"/>
          </p:cNvGraphicFramePr>
          <p:nvPr/>
        </p:nvGraphicFramePr>
        <p:xfrm>
          <a:off x="1434348" y="1202615"/>
          <a:ext cx="10440000" cy="4480085"/>
        </p:xfrm>
        <a:graphic>
          <a:graphicData uri="http://schemas.openxmlformats.org/drawingml/2006/table">
            <a:tbl>
              <a:tblPr firstRow="1" bandRow="1"/>
              <a:tblGrid>
                <a:gridCol w="360000">
                  <a:extLst>
                    <a:ext uri="{9D8B030D-6E8A-4147-A177-3AD203B41FA5}">
                      <a16:colId xmlns:a16="http://schemas.microsoft.com/office/drawing/2014/main" val="1374603574"/>
                    </a:ext>
                  </a:extLst>
                </a:gridCol>
                <a:gridCol w="360000">
                  <a:extLst>
                    <a:ext uri="{9D8B030D-6E8A-4147-A177-3AD203B41FA5}">
                      <a16:colId xmlns:a16="http://schemas.microsoft.com/office/drawing/2014/main" val="616630487"/>
                    </a:ext>
                  </a:extLst>
                </a:gridCol>
                <a:gridCol w="360000">
                  <a:extLst>
                    <a:ext uri="{9D8B030D-6E8A-4147-A177-3AD203B41FA5}">
                      <a16:colId xmlns:a16="http://schemas.microsoft.com/office/drawing/2014/main" val="3611646631"/>
                    </a:ext>
                  </a:extLst>
                </a:gridCol>
                <a:gridCol w="360000">
                  <a:extLst>
                    <a:ext uri="{9D8B030D-6E8A-4147-A177-3AD203B41FA5}">
                      <a16:colId xmlns:a16="http://schemas.microsoft.com/office/drawing/2014/main" val="387867172"/>
                    </a:ext>
                  </a:extLst>
                </a:gridCol>
                <a:gridCol w="360000">
                  <a:extLst>
                    <a:ext uri="{9D8B030D-6E8A-4147-A177-3AD203B41FA5}">
                      <a16:colId xmlns:a16="http://schemas.microsoft.com/office/drawing/2014/main" val="1074844386"/>
                    </a:ext>
                  </a:extLst>
                </a:gridCol>
                <a:gridCol w="360000">
                  <a:extLst>
                    <a:ext uri="{9D8B030D-6E8A-4147-A177-3AD203B41FA5}">
                      <a16:colId xmlns:a16="http://schemas.microsoft.com/office/drawing/2014/main" val="3360163732"/>
                    </a:ext>
                  </a:extLst>
                </a:gridCol>
                <a:gridCol w="360000">
                  <a:extLst>
                    <a:ext uri="{9D8B030D-6E8A-4147-A177-3AD203B41FA5}">
                      <a16:colId xmlns:a16="http://schemas.microsoft.com/office/drawing/2014/main" val="3427377708"/>
                    </a:ext>
                  </a:extLst>
                </a:gridCol>
                <a:gridCol w="360000">
                  <a:extLst>
                    <a:ext uri="{9D8B030D-6E8A-4147-A177-3AD203B41FA5}">
                      <a16:colId xmlns:a16="http://schemas.microsoft.com/office/drawing/2014/main" val="3843774886"/>
                    </a:ext>
                  </a:extLst>
                </a:gridCol>
                <a:gridCol w="360000">
                  <a:extLst>
                    <a:ext uri="{9D8B030D-6E8A-4147-A177-3AD203B41FA5}">
                      <a16:colId xmlns:a16="http://schemas.microsoft.com/office/drawing/2014/main" val="718823476"/>
                    </a:ext>
                  </a:extLst>
                </a:gridCol>
                <a:gridCol w="360000">
                  <a:extLst>
                    <a:ext uri="{9D8B030D-6E8A-4147-A177-3AD203B41FA5}">
                      <a16:colId xmlns:a16="http://schemas.microsoft.com/office/drawing/2014/main" val="2347006990"/>
                    </a:ext>
                  </a:extLst>
                </a:gridCol>
                <a:gridCol w="360000">
                  <a:extLst>
                    <a:ext uri="{9D8B030D-6E8A-4147-A177-3AD203B41FA5}">
                      <a16:colId xmlns:a16="http://schemas.microsoft.com/office/drawing/2014/main" val="2155157167"/>
                    </a:ext>
                  </a:extLst>
                </a:gridCol>
                <a:gridCol w="360000">
                  <a:extLst>
                    <a:ext uri="{9D8B030D-6E8A-4147-A177-3AD203B41FA5}">
                      <a16:colId xmlns:a16="http://schemas.microsoft.com/office/drawing/2014/main" val="4105327700"/>
                    </a:ext>
                  </a:extLst>
                </a:gridCol>
                <a:gridCol w="360000">
                  <a:extLst>
                    <a:ext uri="{9D8B030D-6E8A-4147-A177-3AD203B41FA5}">
                      <a16:colId xmlns:a16="http://schemas.microsoft.com/office/drawing/2014/main" val="2536444145"/>
                    </a:ext>
                  </a:extLst>
                </a:gridCol>
                <a:gridCol w="360000">
                  <a:extLst>
                    <a:ext uri="{9D8B030D-6E8A-4147-A177-3AD203B41FA5}">
                      <a16:colId xmlns:a16="http://schemas.microsoft.com/office/drawing/2014/main" val="1463656374"/>
                    </a:ext>
                  </a:extLst>
                </a:gridCol>
                <a:gridCol w="360000">
                  <a:extLst>
                    <a:ext uri="{9D8B030D-6E8A-4147-A177-3AD203B41FA5}">
                      <a16:colId xmlns:a16="http://schemas.microsoft.com/office/drawing/2014/main" val="1517479526"/>
                    </a:ext>
                  </a:extLst>
                </a:gridCol>
                <a:gridCol w="360000">
                  <a:extLst>
                    <a:ext uri="{9D8B030D-6E8A-4147-A177-3AD203B41FA5}">
                      <a16:colId xmlns:a16="http://schemas.microsoft.com/office/drawing/2014/main" val="4266539181"/>
                    </a:ext>
                  </a:extLst>
                </a:gridCol>
                <a:gridCol w="360000">
                  <a:extLst>
                    <a:ext uri="{9D8B030D-6E8A-4147-A177-3AD203B41FA5}">
                      <a16:colId xmlns:a16="http://schemas.microsoft.com/office/drawing/2014/main" val="3445605931"/>
                    </a:ext>
                  </a:extLst>
                </a:gridCol>
                <a:gridCol w="360000">
                  <a:extLst>
                    <a:ext uri="{9D8B030D-6E8A-4147-A177-3AD203B41FA5}">
                      <a16:colId xmlns:a16="http://schemas.microsoft.com/office/drawing/2014/main" val="2564206673"/>
                    </a:ext>
                  </a:extLst>
                </a:gridCol>
                <a:gridCol w="360000">
                  <a:extLst>
                    <a:ext uri="{9D8B030D-6E8A-4147-A177-3AD203B41FA5}">
                      <a16:colId xmlns:a16="http://schemas.microsoft.com/office/drawing/2014/main" val="2849042772"/>
                    </a:ext>
                  </a:extLst>
                </a:gridCol>
                <a:gridCol w="360000">
                  <a:extLst>
                    <a:ext uri="{9D8B030D-6E8A-4147-A177-3AD203B41FA5}">
                      <a16:colId xmlns:a16="http://schemas.microsoft.com/office/drawing/2014/main" val="4076385462"/>
                    </a:ext>
                  </a:extLst>
                </a:gridCol>
                <a:gridCol w="360000">
                  <a:extLst>
                    <a:ext uri="{9D8B030D-6E8A-4147-A177-3AD203B41FA5}">
                      <a16:colId xmlns:a16="http://schemas.microsoft.com/office/drawing/2014/main" val="963758589"/>
                    </a:ext>
                  </a:extLst>
                </a:gridCol>
                <a:gridCol w="360000">
                  <a:extLst>
                    <a:ext uri="{9D8B030D-6E8A-4147-A177-3AD203B41FA5}">
                      <a16:colId xmlns:a16="http://schemas.microsoft.com/office/drawing/2014/main" val="2959793767"/>
                    </a:ext>
                  </a:extLst>
                </a:gridCol>
                <a:gridCol w="360000">
                  <a:extLst>
                    <a:ext uri="{9D8B030D-6E8A-4147-A177-3AD203B41FA5}">
                      <a16:colId xmlns:a16="http://schemas.microsoft.com/office/drawing/2014/main" val="3663089808"/>
                    </a:ext>
                  </a:extLst>
                </a:gridCol>
                <a:gridCol w="360000">
                  <a:extLst>
                    <a:ext uri="{9D8B030D-6E8A-4147-A177-3AD203B41FA5}">
                      <a16:colId xmlns:a16="http://schemas.microsoft.com/office/drawing/2014/main" val="3615063261"/>
                    </a:ext>
                  </a:extLst>
                </a:gridCol>
                <a:gridCol w="360000">
                  <a:extLst>
                    <a:ext uri="{9D8B030D-6E8A-4147-A177-3AD203B41FA5}">
                      <a16:colId xmlns:a16="http://schemas.microsoft.com/office/drawing/2014/main" val="539727247"/>
                    </a:ext>
                  </a:extLst>
                </a:gridCol>
                <a:gridCol w="360000">
                  <a:extLst>
                    <a:ext uri="{9D8B030D-6E8A-4147-A177-3AD203B41FA5}">
                      <a16:colId xmlns:a16="http://schemas.microsoft.com/office/drawing/2014/main" val="1925022502"/>
                    </a:ext>
                  </a:extLst>
                </a:gridCol>
                <a:gridCol w="360000">
                  <a:extLst>
                    <a:ext uri="{9D8B030D-6E8A-4147-A177-3AD203B41FA5}">
                      <a16:colId xmlns:a16="http://schemas.microsoft.com/office/drawing/2014/main" val="4144031349"/>
                    </a:ext>
                  </a:extLst>
                </a:gridCol>
                <a:gridCol w="360000">
                  <a:extLst>
                    <a:ext uri="{9D8B030D-6E8A-4147-A177-3AD203B41FA5}">
                      <a16:colId xmlns:a16="http://schemas.microsoft.com/office/drawing/2014/main" val="4045838509"/>
                    </a:ext>
                  </a:extLst>
                </a:gridCol>
                <a:gridCol w="360000">
                  <a:extLst>
                    <a:ext uri="{9D8B030D-6E8A-4147-A177-3AD203B41FA5}">
                      <a16:colId xmlns:a16="http://schemas.microsoft.com/office/drawing/2014/main" val="3225791570"/>
                    </a:ext>
                  </a:extLst>
                </a:gridCol>
              </a:tblGrid>
              <a:tr h="317026">
                <a:tc gridSpan="5">
                  <a:txBody>
                    <a:bodyPr/>
                    <a:lstStyle/>
                    <a:p>
                      <a:pPr algn="ctr"/>
                      <a:r>
                        <a:rPr lang="en-GB" sz="800" b="1">
                          <a:solidFill>
                            <a:schemeClr val="tx2"/>
                          </a:solidFill>
                          <a:latin typeface="Arial Narrow"/>
                        </a:rPr>
                        <a:t>2022</a:t>
                      </a: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gridSpan="12">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pPr algn="ctr"/>
                      <a:r>
                        <a:rPr lang="en-GB" sz="800" b="1">
                          <a:solidFill>
                            <a:schemeClr val="tx2"/>
                          </a:solidFill>
                          <a:latin typeface="Arial Narrow"/>
                        </a:rPr>
                        <a:t>2023</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900" b="1">
                        <a:solidFill>
                          <a:schemeClr val="tx2"/>
                        </a:solidFill>
                        <a:latin typeface="Arial Narrow" panose="020B0606020202030204" pitchFamily="34" charset="0"/>
                      </a:endParaRPr>
                    </a:p>
                  </a:txBody>
                  <a:tcPr marL="91437" marR="91437" marT="45732" marB="45732"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pPr algn="ctr"/>
                      <a:endParaRPr lang="en-GB" sz="900" b="1">
                        <a:solidFill>
                          <a:schemeClr val="tx2"/>
                        </a:solidFill>
                        <a:latin typeface="Arial Narrow" panose="020B0606020202030204" pitchFamily="34" charset="0"/>
                      </a:endParaRPr>
                    </a:p>
                  </a:txBody>
                  <a:tcPr marL="91437" marR="91437" marT="45732" marB="45732"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pPr algn="ctr"/>
                      <a:endParaRPr lang="en-GB" sz="900" b="1">
                        <a:solidFill>
                          <a:schemeClr val="tx2"/>
                        </a:solidFill>
                        <a:latin typeface="Arial Narrow" panose="020B0606020202030204" pitchFamily="34" charset="0"/>
                      </a:endParaRPr>
                    </a:p>
                  </a:txBody>
                  <a:tcPr marL="91437" marR="91437" marT="45732" marB="45732"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gridSpan="12">
                  <a:txBody>
                    <a:bodyPr/>
                    <a:lstStyle/>
                    <a:p>
                      <a:pPr algn="ctr"/>
                      <a:r>
                        <a:rPr lang="en-GB" sz="800" b="1">
                          <a:solidFill>
                            <a:schemeClr val="tx2"/>
                          </a:solidFill>
                          <a:latin typeface="Arial Narrow"/>
                        </a:rPr>
                        <a:t>2024</a:t>
                      </a: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tc hMerge="1">
                  <a:txBody>
                    <a:bodyPr/>
                    <a:lstStyle/>
                    <a:p>
                      <a:pPr algn="ctr"/>
                      <a:endParaRPr lang="en-GB" sz="800" b="1">
                        <a:solidFill>
                          <a:schemeClr val="tx2"/>
                        </a:solidFill>
                        <a:latin typeface="Arial Narrow" panose="020B0606020202030204" pitchFamily="34" charset="0"/>
                      </a:endParaRP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36699">
                        <a:lumMod val="75000"/>
                      </a:srgbClr>
                    </a:solidFill>
                  </a:tcPr>
                </a:tc>
                <a:extLst>
                  <a:ext uri="{0D108BD9-81ED-4DB2-BD59-A6C34878D82A}">
                    <a16:rowId xmlns:a16="http://schemas.microsoft.com/office/drawing/2014/main" val="3592505809"/>
                  </a:ext>
                </a:extLst>
              </a:tr>
              <a:tr h="283655">
                <a:tc>
                  <a:txBody>
                    <a:bodyPr/>
                    <a:lstStyle/>
                    <a:p>
                      <a:pPr algn="ctr"/>
                      <a:r>
                        <a:rPr lang="en-GB" sz="800" b="1">
                          <a:latin typeface="Arial Narrow"/>
                        </a:rPr>
                        <a:t>Aug</a:t>
                      </a:r>
                    </a:p>
                  </a:txBody>
                  <a:tcPr marL="28932" marR="28932" marT="14470" marB="14470" anchor="ctr">
                    <a:lnL w="12700" cmpd="sng">
                      <a:solidFill>
                        <a:srgbClr val="FFFFFF"/>
                      </a:solidFill>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en-GB" sz="800" b="1">
                          <a:latin typeface="Arial Narrow"/>
                        </a:rPr>
                        <a:t>Sep</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en-GB" sz="800" b="1">
                          <a:latin typeface="Arial Narrow"/>
                        </a:rPr>
                        <a:t>Oct</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en-GB" sz="800" b="1">
                          <a:latin typeface="Arial Narrow"/>
                        </a:rPr>
                        <a:t>Nov</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a:r>
                        <a:rPr lang="en-GB" sz="800" b="1">
                          <a:latin typeface="Arial Narrow"/>
                        </a:rPr>
                        <a:t>Dec</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Jan</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Feb</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Mar</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Apr</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May</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Jun</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Jul</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Aug</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Sep</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Oct</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Nov</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Dec</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Jan</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Feb</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Mar</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lvl1pPr marL="0" algn="l" defTabSz="914400" rtl="0" eaLnBrk="1" latinLnBrk="0" hangingPunct="1">
                        <a:defRPr sz="1800" kern="1200">
                          <a:solidFill>
                            <a:schemeClr val="dk1"/>
                          </a:solidFill>
                          <a:latin typeface="Arial"/>
                          <a:cs typeface="Arial"/>
                        </a:defRPr>
                      </a:lvl1pPr>
                      <a:lvl2pPr marL="457200" algn="l" defTabSz="914400" rtl="0" eaLnBrk="1" latinLnBrk="0" hangingPunct="1">
                        <a:defRPr sz="1800" kern="1200">
                          <a:solidFill>
                            <a:schemeClr val="dk1"/>
                          </a:solidFill>
                          <a:latin typeface="Arial"/>
                          <a:cs typeface="Arial"/>
                        </a:defRPr>
                      </a:lvl2pPr>
                      <a:lvl3pPr marL="914400" algn="l" defTabSz="914400" rtl="0" eaLnBrk="1" latinLnBrk="0" hangingPunct="1">
                        <a:defRPr sz="1800" kern="1200">
                          <a:solidFill>
                            <a:schemeClr val="dk1"/>
                          </a:solidFill>
                          <a:latin typeface="Arial"/>
                          <a:cs typeface="Arial"/>
                        </a:defRPr>
                      </a:lvl3pPr>
                      <a:lvl4pPr marL="1371600" algn="l" defTabSz="914400" rtl="0" eaLnBrk="1" latinLnBrk="0" hangingPunct="1">
                        <a:defRPr sz="1800" kern="1200">
                          <a:solidFill>
                            <a:schemeClr val="dk1"/>
                          </a:solidFill>
                          <a:latin typeface="Arial"/>
                          <a:cs typeface="Arial"/>
                        </a:defRPr>
                      </a:lvl4pPr>
                      <a:lvl5pPr marL="1828800" algn="l" defTabSz="914400" rtl="0" eaLnBrk="1" latinLnBrk="0" hangingPunct="1">
                        <a:defRPr sz="1800" kern="1200">
                          <a:solidFill>
                            <a:schemeClr val="dk1"/>
                          </a:solidFill>
                          <a:latin typeface="Arial"/>
                          <a:cs typeface="Arial"/>
                        </a:defRPr>
                      </a:lvl5pPr>
                      <a:lvl6pPr marL="2286000" algn="l" defTabSz="914400" rtl="0" eaLnBrk="1" latinLnBrk="0" hangingPunct="1">
                        <a:defRPr sz="1800" kern="1200">
                          <a:solidFill>
                            <a:schemeClr val="dk1"/>
                          </a:solidFill>
                          <a:latin typeface="Arial"/>
                          <a:cs typeface="Arial"/>
                        </a:defRPr>
                      </a:lvl6pPr>
                      <a:lvl7pPr marL="2743200" algn="l" defTabSz="914400" rtl="0" eaLnBrk="1" latinLnBrk="0" hangingPunct="1">
                        <a:defRPr sz="1800" kern="1200">
                          <a:solidFill>
                            <a:schemeClr val="dk1"/>
                          </a:solidFill>
                          <a:latin typeface="Arial"/>
                          <a:cs typeface="Arial"/>
                        </a:defRPr>
                      </a:lvl7pPr>
                      <a:lvl8pPr marL="3200400" algn="l" defTabSz="914400" rtl="0" eaLnBrk="1" latinLnBrk="0" hangingPunct="1">
                        <a:defRPr sz="1800" kern="1200">
                          <a:solidFill>
                            <a:schemeClr val="dk1"/>
                          </a:solidFill>
                          <a:latin typeface="Arial"/>
                          <a:cs typeface="Arial"/>
                        </a:defRPr>
                      </a:lvl8pPr>
                      <a:lvl9pPr marL="3657600" algn="l" defTabSz="914400" rtl="0" eaLnBrk="1" latinLnBrk="0" hangingPunct="1">
                        <a:defRPr sz="1800" kern="1200">
                          <a:solidFill>
                            <a:schemeClr val="dk1"/>
                          </a:solidFill>
                          <a:latin typeface="Arial"/>
                          <a:cs typeface="Arial"/>
                        </a:defRPr>
                      </a:lvl9pPr>
                    </a:lstStyle>
                    <a:p>
                      <a:pPr algn="ctr"/>
                      <a:r>
                        <a:rPr lang="en-GB" sz="800" b="1">
                          <a:latin typeface="Arial Narrow"/>
                        </a:rPr>
                        <a:t>Apr</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May</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Jun</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Jul</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Aug</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Sep</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Oct</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Nov</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tc>
                  <a:txBody>
                    <a:bodyPr/>
                    <a:lstStyle/>
                    <a:p>
                      <a:pPr algn="ctr"/>
                      <a:r>
                        <a:rPr lang="en-GB" sz="800" b="1">
                          <a:latin typeface="Arial Narrow"/>
                        </a:rPr>
                        <a:t>Dec</a:t>
                      </a:r>
                    </a:p>
                  </a:txBody>
                  <a:tcPr marL="28932" marR="28932" marT="14470" marB="144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AB3D0">
                        <a:lumMod val="60000"/>
                        <a:lumOff val="40000"/>
                      </a:srgbClr>
                    </a:solidFill>
                  </a:tcPr>
                </a:tc>
                <a:extLst>
                  <a:ext uri="{0D108BD9-81ED-4DB2-BD59-A6C34878D82A}">
                    <a16:rowId xmlns:a16="http://schemas.microsoft.com/office/drawing/2014/main" val="1703393738"/>
                  </a:ext>
                </a:extLst>
              </a:tr>
              <a:tr h="3879404">
                <a:tc>
                  <a:txBody>
                    <a:bodyPr/>
                    <a:lstStyle/>
                    <a:p>
                      <a:endParaRPr lang="en-GB" sz="800"/>
                    </a:p>
                  </a:txBody>
                  <a:tcPr marL="28932" marR="28932" marT="14470" marB="14470">
                    <a:lnL w="12700" cmpd="sng">
                      <a:solidFill>
                        <a:srgbClr val="FFFFFF"/>
                      </a:solid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685800" rtl="0" eaLnBrk="1" latinLnBrk="0" hangingPunct="1">
                        <a:defRPr sz="1350" kern="1200">
                          <a:solidFill>
                            <a:schemeClr val="tx1"/>
                          </a:solidFill>
                          <a:latin typeface="Arial"/>
                          <a:cs typeface="Arial"/>
                        </a:defRPr>
                      </a:lvl1pPr>
                      <a:lvl2pPr marL="342900" algn="l" defTabSz="685800" rtl="0" eaLnBrk="1" latinLnBrk="0" hangingPunct="1">
                        <a:defRPr sz="1350" kern="1200">
                          <a:solidFill>
                            <a:schemeClr val="tx1"/>
                          </a:solidFill>
                          <a:latin typeface="Arial"/>
                          <a:cs typeface="Arial"/>
                        </a:defRPr>
                      </a:lvl2pPr>
                      <a:lvl3pPr marL="685800" algn="l" defTabSz="685800" rtl="0" eaLnBrk="1" latinLnBrk="0" hangingPunct="1">
                        <a:defRPr sz="1350" kern="1200">
                          <a:solidFill>
                            <a:schemeClr val="tx1"/>
                          </a:solidFill>
                          <a:latin typeface="Arial"/>
                          <a:cs typeface="Arial"/>
                        </a:defRPr>
                      </a:lvl3pPr>
                      <a:lvl4pPr marL="1028700" algn="l" defTabSz="685800" rtl="0" eaLnBrk="1" latinLnBrk="0" hangingPunct="1">
                        <a:defRPr sz="1350" kern="1200">
                          <a:solidFill>
                            <a:schemeClr val="tx1"/>
                          </a:solidFill>
                          <a:latin typeface="Arial"/>
                          <a:cs typeface="Arial"/>
                        </a:defRPr>
                      </a:lvl4pPr>
                      <a:lvl5pPr marL="1371600" algn="l" defTabSz="685800" rtl="0" eaLnBrk="1" latinLnBrk="0" hangingPunct="1">
                        <a:defRPr sz="1350" kern="1200">
                          <a:solidFill>
                            <a:schemeClr val="tx1"/>
                          </a:solidFill>
                          <a:latin typeface="Arial"/>
                          <a:cs typeface="Arial"/>
                        </a:defRPr>
                      </a:lvl5pPr>
                      <a:lvl6pPr marL="1714500" algn="l" defTabSz="685800" rtl="0" eaLnBrk="1" latinLnBrk="0" hangingPunct="1">
                        <a:defRPr sz="1350" kern="1200">
                          <a:solidFill>
                            <a:schemeClr val="tx1"/>
                          </a:solidFill>
                          <a:latin typeface="Arial"/>
                          <a:cs typeface="Arial"/>
                        </a:defRPr>
                      </a:lvl6pPr>
                      <a:lvl7pPr marL="2057400" algn="l" defTabSz="685800" rtl="0" eaLnBrk="1" latinLnBrk="0" hangingPunct="1">
                        <a:defRPr sz="1350" kern="1200">
                          <a:solidFill>
                            <a:schemeClr val="tx1"/>
                          </a:solidFill>
                          <a:latin typeface="Arial"/>
                          <a:cs typeface="Arial"/>
                        </a:defRPr>
                      </a:lvl7pPr>
                      <a:lvl8pPr marL="2400300" algn="l" defTabSz="685800" rtl="0" eaLnBrk="1" latinLnBrk="0" hangingPunct="1">
                        <a:defRPr sz="1350" kern="1200">
                          <a:solidFill>
                            <a:schemeClr val="tx1"/>
                          </a:solidFill>
                          <a:latin typeface="Arial"/>
                          <a:cs typeface="Arial"/>
                        </a:defRPr>
                      </a:lvl8pPr>
                      <a:lvl9pPr marL="2743200" algn="l" defTabSz="685800" rtl="0" eaLnBrk="1" latinLnBrk="0" hangingPunct="1">
                        <a:defRPr sz="1350" kern="1200">
                          <a:solidFill>
                            <a:schemeClr val="tx1"/>
                          </a:solidFill>
                          <a:latin typeface="Arial"/>
                          <a:cs typeface="Arial"/>
                        </a:defRPr>
                      </a:lvl9p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endParaRPr lang="en-GB" sz="800"/>
                    </a:p>
                  </a:txBody>
                  <a:tcPr marL="28932" marR="28932" marT="14470" marB="1447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4181771390"/>
                  </a:ext>
                </a:extLst>
              </a:tr>
            </a:tbl>
          </a:graphicData>
        </a:graphic>
      </p:graphicFrame>
      <p:sp>
        <p:nvSpPr>
          <p:cNvPr id="8" name="Rounded Rectangle 76">
            <a:extLst>
              <a:ext uri="{FF2B5EF4-FFF2-40B4-BE49-F238E27FC236}">
                <a16:creationId xmlns:a16="http://schemas.microsoft.com/office/drawing/2014/main" id="{B6E6A53E-BC2D-4568-8D84-21FD4C028BC8}"/>
              </a:ext>
            </a:extLst>
          </p:cNvPr>
          <p:cNvSpPr/>
          <p:nvPr/>
        </p:nvSpPr>
        <p:spPr>
          <a:xfrm>
            <a:off x="361950" y="4184650"/>
            <a:ext cx="11503025" cy="685800"/>
          </a:xfrm>
          <a:prstGeom prst="roundRect">
            <a:avLst/>
          </a:prstGeom>
          <a:solidFill>
            <a:srgbClr val="003C71">
              <a:alpha val="36000"/>
            </a:srgbClr>
          </a:solidFill>
          <a:ln w="12700" cap="flat" cmpd="sng" algn="ctr">
            <a:noFill/>
            <a:prstDash val="solid"/>
            <a:miter lim="800000"/>
          </a:ln>
          <a:effectLst/>
        </p:spPr>
        <p:txBody>
          <a:bodyPr lIns="91440" tIns="45720" rIns="91440" bIns="45720" rtlCol="0" anchor="ctr"/>
          <a:lstStyle/>
          <a:p>
            <a:pPr>
              <a:defRPr/>
            </a:pPr>
            <a:endParaRPr lang="en-GB" sz="800" b="1" kern="0">
              <a:solidFill>
                <a:srgbClr val="FFFFFF"/>
              </a:solidFill>
              <a:latin typeface="Arial"/>
              <a:cs typeface="Arial"/>
            </a:endParaRPr>
          </a:p>
          <a:p>
            <a:pPr>
              <a:defRPr/>
            </a:pPr>
            <a:r>
              <a:rPr lang="en-GB" sz="800" b="1" kern="0">
                <a:solidFill>
                  <a:srgbClr val="FFFFFF"/>
                </a:solidFill>
                <a:latin typeface="Arial"/>
                <a:cs typeface="Arial"/>
              </a:rPr>
              <a:t>Schema Drafts</a:t>
            </a:r>
            <a:endParaRPr lang="en-IE" sz="800" kern="0">
              <a:solidFill>
                <a:srgbClr val="FFFFFF"/>
              </a:solidFill>
              <a:latin typeface="Arial"/>
              <a:cs typeface="Arial"/>
            </a:endParaRPr>
          </a:p>
          <a:p>
            <a:pPr algn="ctr">
              <a:defRPr/>
            </a:pPr>
            <a:endParaRPr lang="en-IE" sz="1000" kern="0">
              <a:solidFill>
                <a:srgbClr val="A59D95"/>
              </a:solidFill>
              <a:latin typeface="Arial"/>
              <a:cs typeface="Arial"/>
            </a:endParaRPr>
          </a:p>
        </p:txBody>
      </p:sp>
      <p:sp>
        <p:nvSpPr>
          <p:cNvPr id="9" name="Rounded Rectangle 76">
            <a:extLst>
              <a:ext uri="{FF2B5EF4-FFF2-40B4-BE49-F238E27FC236}">
                <a16:creationId xmlns:a16="http://schemas.microsoft.com/office/drawing/2014/main" id="{EC1ABB2F-DE8D-4C9E-A89F-246E76BB68D2}"/>
              </a:ext>
            </a:extLst>
          </p:cNvPr>
          <p:cNvSpPr/>
          <p:nvPr/>
        </p:nvSpPr>
        <p:spPr>
          <a:xfrm>
            <a:off x="361665" y="1836241"/>
            <a:ext cx="11504361" cy="684364"/>
          </a:xfrm>
          <a:prstGeom prst="roundRect">
            <a:avLst/>
          </a:prstGeom>
          <a:solidFill>
            <a:srgbClr val="003C71">
              <a:alpha val="36000"/>
            </a:srgbClr>
          </a:solidFill>
          <a:ln w="12700" cap="flat" cmpd="sng" algn="ctr">
            <a:noFill/>
            <a:prstDash val="solid"/>
            <a:miter lim="800000"/>
          </a:ln>
          <a:effectLst/>
        </p:spPr>
        <p:txBody>
          <a:bodyPr lIns="91440" tIns="45720" rIns="91440" bIns="45720" rtlCol="0" anchor="ctr"/>
          <a:lstStyle/>
          <a:p>
            <a:pPr>
              <a:defRPr/>
            </a:pPr>
            <a:r>
              <a:rPr lang="en-IE" sz="800" b="1" kern="0">
                <a:solidFill>
                  <a:schemeClr val="tx2"/>
                </a:solidFill>
                <a:latin typeface="Arial"/>
                <a:cs typeface="Arial"/>
              </a:rPr>
              <a:t>V14.00.00 </a:t>
            </a:r>
          </a:p>
          <a:p>
            <a:pPr>
              <a:defRPr/>
            </a:pPr>
            <a:r>
              <a:rPr lang="en-IE" sz="800" b="1" kern="0">
                <a:solidFill>
                  <a:schemeClr val="tx2"/>
                </a:solidFill>
                <a:latin typeface="Arial"/>
                <a:cs typeface="Arial"/>
              </a:rPr>
              <a:t>High Level </a:t>
            </a:r>
          </a:p>
          <a:p>
            <a:pPr>
              <a:defRPr/>
            </a:pPr>
            <a:r>
              <a:rPr lang="en-IE" sz="800" b="1" kern="0">
                <a:solidFill>
                  <a:schemeClr val="tx2"/>
                </a:solidFill>
                <a:latin typeface="Arial"/>
                <a:cs typeface="Arial"/>
              </a:rPr>
              <a:t>Plan</a:t>
            </a:r>
          </a:p>
        </p:txBody>
      </p:sp>
      <p:sp>
        <p:nvSpPr>
          <p:cNvPr id="10" name="Rounded Rectangle 76">
            <a:extLst>
              <a:ext uri="{FF2B5EF4-FFF2-40B4-BE49-F238E27FC236}">
                <a16:creationId xmlns:a16="http://schemas.microsoft.com/office/drawing/2014/main" id="{8122795E-C941-4509-B41C-30C9003612E5}"/>
              </a:ext>
            </a:extLst>
          </p:cNvPr>
          <p:cNvSpPr/>
          <p:nvPr/>
        </p:nvSpPr>
        <p:spPr>
          <a:xfrm>
            <a:off x="357545" y="2619375"/>
            <a:ext cx="11503025" cy="685800"/>
          </a:xfrm>
          <a:prstGeom prst="roundRect">
            <a:avLst/>
          </a:prstGeom>
          <a:solidFill>
            <a:srgbClr val="003C71">
              <a:alpha val="36000"/>
            </a:srgbClr>
          </a:solidFill>
          <a:ln w="12700" cap="flat" cmpd="sng" algn="ctr">
            <a:noFill/>
            <a:prstDash val="solid"/>
            <a:miter lim="800000"/>
          </a:ln>
          <a:effectLst/>
        </p:spPr>
        <p:txBody>
          <a:bodyPr lIns="91440" tIns="45720" rIns="91440" bIns="45720" rtlCol="0" anchor="ctr"/>
          <a:lstStyle/>
          <a:p>
            <a:pPr>
              <a:defRPr/>
            </a:pPr>
            <a:r>
              <a:rPr lang="en-GB" sz="800" b="1" kern="0">
                <a:solidFill>
                  <a:srgbClr val="FFFFFF"/>
                </a:solidFill>
                <a:latin typeface="Arial"/>
                <a:cs typeface="Arial"/>
              </a:rPr>
              <a:t>Schema Sharing</a:t>
            </a:r>
            <a:endParaRPr lang="en-US" sz="800" kern="0">
              <a:solidFill>
                <a:srgbClr val="FFFFFF"/>
              </a:solidFill>
              <a:latin typeface="Arial"/>
              <a:cs typeface="Arial"/>
            </a:endParaRPr>
          </a:p>
          <a:p>
            <a:pPr>
              <a:defRPr/>
            </a:pPr>
            <a:r>
              <a:rPr lang="en-GB" sz="800" b="1" kern="0">
                <a:solidFill>
                  <a:srgbClr val="FFFFFF"/>
                </a:solidFill>
                <a:latin typeface="Arial"/>
                <a:cs typeface="Arial"/>
              </a:rPr>
              <a:t>Roadmap </a:t>
            </a:r>
            <a:endParaRPr lang="en-US" sz="800" kern="0">
              <a:solidFill>
                <a:srgbClr val="FFFFFF"/>
              </a:solidFill>
              <a:latin typeface="Arial"/>
              <a:cs typeface="Arial"/>
            </a:endParaRPr>
          </a:p>
          <a:p>
            <a:pPr>
              <a:defRPr/>
            </a:pPr>
            <a:r>
              <a:rPr lang="en-GB" sz="800" b="1" kern="0">
                <a:solidFill>
                  <a:srgbClr val="FFFFFF"/>
                </a:solidFill>
                <a:latin typeface="Arial"/>
                <a:cs typeface="Arial"/>
              </a:rPr>
              <a:t>Approach</a:t>
            </a:r>
            <a:endParaRPr lang="en-IE"/>
          </a:p>
        </p:txBody>
      </p:sp>
      <p:sp>
        <p:nvSpPr>
          <p:cNvPr id="14" name="Rounded Rectangle 76">
            <a:extLst>
              <a:ext uri="{FF2B5EF4-FFF2-40B4-BE49-F238E27FC236}">
                <a16:creationId xmlns:a16="http://schemas.microsoft.com/office/drawing/2014/main" id="{431F93A3-017E-48DB-B50E-3F3135447CE1}"/>
              </a:ext>
            </a:extLst>
          </p:cNvPr>
          <p:cNvSpPr/>
          <p:nvPr/>
        </p:nvSpPr>
        <p:spPr>
          <a:xfrm>
            <a:off x="361950" y="4967288"/>
            <a:ext cx="11503025" cy="685800"/>
          </a:xfrm>
          <a:prstGeom prst="roundRect">
            <a:avLst/>
          </a:prstGeom>
          <a:solidFill>
            <a:srgbClr val="003C71">
              <a:alpha val="36000"/>
            </a:srgbClr>
          </a:solidFill>
          <a:ln w="12700" cap="flat" cmpd="sng" algn="ctr">
            <a:noFill/>
            <a:prstDash val="solid"/>
            <a:miter lim="800000"/>
          </a:ln>
          <a:effectLst/>
        </p:spPr>
        <p:txBody>
          <a:bodyPr lIns="91440" tIns="45720" rIns="91440" bIns="45720" rtlCol="0" anchor="ctr"/>
          <a:lstStyle/>
          <a:p>
            <a:pPr>
              <a:defRPr/>
            </a:pPr>
            <a:endParaRPr lang="en-GB" sz="800" b="1" kern="0">
              <a:solidFill>
                <a:srgbClr val="FFFFFF"/>
              </a:solidFill>
              <a:latin typeface="Arial"/>
              <a:cs typeface="Arial"/>
            </a:endParaRPr>
          </a:p>
          <a:p>
            <a:pPr>
              <a:defRPr/>
            </a:pPr>
            <a:r>
              <a:rPr lang="en-GB" sz="800" b="1" kern="0">
                <a:solidFill>
                  <a:srgbClr val="FFFFFF"/>
                </a:solidFill>
                <a:latin typeface="Arial"/>
                <a:cs typeface="Arial"/>
              </a:rPr>
              <a:t>Final Schema</a:t>
            </a:r>
            <a:endParaRPr lang="en-IE" sz="800" kern="0">
              <a:solidFill>
                <a:srgbClr val="FFFFFF"/>
              </a:solidFill>
              <a:latin typeface="Arial"/>
              <a:cs typeface="Arial"/>
            </a:endParaRPr>
          </a:p>
          <a:p>
            <a:pPr algn="ctr">
              <a:defRPr/>
            </a:pPr>
            <a:endParaRPr lang="en-IE" sz="1000" kern="0">
              <a:solidFill>
                <a:srgbClr val="A59D95"/>
              </a:solidFill>
              <a:latin typeface="Arial"/>
              <a:cs typeface="Arial"/>
            </a:endParaRPr>
          </a:p>
        </p:txBody>
      </p:sp>
      <p:grpSp>
        <p:nvGrpSpPr>
          <p:cNvPr id="4" name="Group 3">
            <a:extLst>
              <a:ext uri="{FF2B5EF4-FFF2-40B4-BE49-F238E27FC236}">
                <a16:creationId xmlns:a16="http://schemas.microsoft.com/office/drawing/2014/main" id="{2F9BAE89-2A14-4432-8826-56B468238900}"/>
              </a:ext>
            </a:extLst>
          </p:cNvPr>
          <p:cNvGrpSpPr/>
          <p:nvPr/>
        </p:nvGrpSpPr>
        <p:grpSpPr>
          <a:xfrm>
            <a:off x="7743708" y="1783239"/>
            <a:ext cx="1155901" cy="4343408"/>
            <a:chOff x="1464488" y="1400089"/>
            <a:chExt cx="1155901" cy="4140552"/>
          </a:xfrm>
        </p:grpSpPr>
        <p:sp>
          <p:nvSpPr>
            <p:cNvPr id="12" name="TextBox 11">
              <a:extLst>
                <a:ext uri="{FF2B5EF4-FFF2-40B4-BE49-F238E27FC236}">
                  <a16:creationId xmlns:a16="http://schemas.microsoft.com/office/drawing/2014/main" id="{BF197A6C-E43C-443B-999F-EAF9324CB1F8}"/>
                </a:ext>
              </a:extLst>
            </p:cNvPr>
            <p:cNvSpPr txBox="1"/>
            <p:nvPr/>
          </p:nvSpPr>
          <p:spPr>
            <a:xfrm>
              <a:off x="1464488" y="5298584"/>
              <a:ext cx="1155901" cy="242057"/>
            </a:xfrm>
            <a:prstGeom prst="rect">
              <a:avLst/>
            </a:prstGeom>
            <a:noFill/>
            <a:ln w="38100">
              <a:solidFill>
                <a:schemeClr val="bg2">
                  <a:lumMod val="40000"/>
                  <a:lumOff val="60000"/>
                </a:schemeClr>
              </a:solidFill>
            </a:ln>
          </p:spPr>
          <p:txBody>
            <a:bodyPr wrap="square" lIns="91440" tIns="45720" rIns="91440" bIns="45720" rtlCol="0" anchor="t">
              <a:spAutoFit/>
            </a:bodyPr>
            <a:lstStyle/>
            <a:p>
              <a:pPr algn="ctr"/>
              <a:r>
                <a:rPr lang="en-IE" sz="1050" b="1" dirty="0">
                  <a:solidFill>
                    <a:srgbClr val="003AF2"/>
                  </a:solidFill>
                  <a:latin typeface="Arial"/>
                  <a:cs typeface="Arial"/>
                </a:rPr>
                <a:t>MAR 2024</a:t>
              </a:r>
              <a:endParaRPr lang="en-US" sz="2400" dirty="0"/>
            </a:p>
          </p:txBody>
        </p:sp>
        <p:cxnSp>
          <p:nvCxnSpPr>
            <p:cNvPr id="15" name="Straight Connector 14">
              <a:extLst>
                <a:ext uri="{FF2B5EF4-FFF2-40B4-BE49-F238E27FC236}">
                  <a16:creationId xmlns:a16="http://schemas.microsoft.com/office/drawing/2014/main" id="{8DFEC1C8-FB51-43A9-9084-07F73B632638}"/>
                </a:ext>
              </a:extLst>
            </p:cNvPr>
            <p:cNvCxnSpPr>
              <a:cxnSpLocks/>
            </p:cNvCxnSpPr>
            <p:nvPr/>
          </p:nvCxnSpPr>
          <p:spPr>
            <a:xfrm>
              <a:off x="1971053" y="1400089"/>
              <a:ext cx="0" cy="3864930"/>
            </a:xfrm>
            <a:prstGeom prst="line">
              <a:avLst/>
            </a:prstGeom>
            <a:noFill/>
            <a:ln w="34925" cap="flat" cmpd="sng" algn="ctr">
              <a:solidFill>
                <a:schemeClr val="bg2">
                  <a:lumMod val="40000"/>
                  <a:lumOff val="60000"/>
                </a:schemeClr>
              </a:solidFill>
              <a:prstDash val="dash"/>
              <a:miter lim="800000"/>
            </a:ln>
            <a:effectLst/>
          </p:spPr>
        </p:cxnSp>
      </p:grpSp>
      <p:sp>
        <p:nvSpPr>
          <p:cNvPr id="21" name="Rounded Rectangle 76">
            <a:extLst>
              <a:ext uri="{FF2B5EF4-FFF2-40B4-BE49-F238E27FC236}">
                <a16:creationId xmlns:a16="http://schemas.microsoft.com/office/drawing/2014/main" id="{36266BC1-5D64-49B8-916D-EBA950332EFD}"/>
              </a:ext>
            </a:extLst>
          </p:cNvPr>
          <p:cNvSpPr/>
          <p:nvPr/>
        </p:nvSpPr>
        <p:spPr>
          <a:xfrm>
            <a:off x="361950" y="3402013"/>
            <a:ext cx="11503025" cy="685800"/>
          </a:xfrm>
          <a:prstGeom prst="roundRect">
            <a:avLst/>
          </a:prstGeom>
          <a:solidFill>
            <a:srgbClr val="003C71">
              <a:alpha val="36000"/>
            </a:srgbClr>
          </a:solidFill>
          <a:ln w="12700" cap="flat" cmpd="sng" algn="ctr">
            <a:noFill/>
            <a:prstDash val="solid"/>
            <a:miter lim="800000"/>
          </a:ln>
          <a:effectLst/>
        </p:spPr>
        <p:txBody>
          <a:bodyPr lIns="91440" tIns="45720" rIns="91440" bIns="45720" rtlCol="0" anchor="ctr"/>
          <a:lstStyle/>
          <a:p>
            <a:pPr>
              <a:defRPr/>
            </a:pPr>
            <a:endParaRPr lang="en-GB" sz="800" b="1" kern="0">
              <a:solidFill>
                <a:srgbClr val="FFFFFF"/>
              </a:solidFill>
              <a:latin typeface="Arial"/>
              <a:cs typeface="Arial"/>
            </a:endParaRPr>
          </a:p>
          <a:p>
            <a:pPr>
              <a:defRPr/>
            </a:pPr>
            <a:r>
              <a:rPr lang="en-GB" sz="800" b="1" kern="0">
                <a:solidFill>
                  <a:srgbClr val="FFFFFF"/>
                </a:solidFill>
                <a:latin typeface="Arial"/>
                <a:cs typeface="Arial"/>
              </a:rPr>
              <a:t>Market Schema </a:t>
            </a:r>
            <a:endParaRPr lang="en-IE" sz="800" kern="0">
              <a:solidFill>
                <a:srgbClr val="FFFFFF"/>
              </a:solidFill>
              <a:latin typeface="Arial"/>
              <a:cs typeface="Arial"/>
            </a:endParaRPr>
          </a:p>
          <a:p>
            <a:pPr>
              <a:defRPr/>
            </a:pPr>
            <a:r>
              <a:rPr lang="en-GB" sz="800" b="1" kern="0">
                <a:solidFill>
                  <a:srgbClr val="FFFFFF"/>
                </a:solidFill>
                <a:latin typeface="Arial"/>
                <a:cs typeface="Arial"/>
              </a:rPr>
              <a:t>Guide</a:t>
            </a:r>
            <a:endParaRPr lang="en-IE" sz="800" kern="0">
              <a:solidFill>
                <a:srgbClr val="FFFFFF"/>
              </a:solidFill>
              <a:latin typeface="Arial"/>
              <a:cs typeface="Arial"/>
            </a:endParaRPr>
          </a:p>
          <a:p>
            <a:pPr algn="ctr">
              <a:defRPr/>
            </a:pPr>
            <a:endParaRPr lang="en-IE" sz="1000" kern="0">
              <a:solidFill>
                <a:srgbClr val="A59D95"/>
              </a:solidFill>
              <a:latin typeface="Arial"/>
              <a:cs typeface="Arial"/>
            </a:endParaRPr>
          </a:p>
        </p:txBody>
      </p:sp>
      <p:grpSp>
        <p:nvGrpSpPr>
          <p:cNvPr id="31" name="Group 30">
            <a:extLst>
              <a:ext uri="{FF2B5EF4-FFF2-40B4-BE49-F238E27FC236}">
                <a16:creationId xmlns:a16="http://schemas.microsoft.com/office/drawing/2014/main" id="{FFD4ADDC-EFCB-830E-2A2E-C5FF7788014C}"/>
              </a:ext>
            </a:extLst>
          </p:cNvPr>
          <p:cNvGrpSpPr/>
          <p:nvPr/>
        </p:nvGrpSpPr>
        <p:grpSpPr>
          <a:xfrm>
            <a:off x="11203421" y="1827491"/>
            <a:ext cx="728127" cy="324948"/>
            <a:chOff x="10682505" y="2381000"/>
            <a:chExt cx="728127" cy="338554"/>
          </a:xfrm>
        </p:grpSpPr>
        <p:sp>
          <p:nvSpPr>
            <p:cNvPr id="13" name="Isosceles Triangle 12">
              <a:extLst>
                <a:ext uri="{FF2B5EF4-FFF2-40B4-BE49-F238E27FC236}">
                  <a16:creationId xmlns:a16="http://schemas.microsoft.com/office/drawing/2014/main" id="{F4EADA55-5921-43D5-9A37-213C797E8360}"/>
                </a:ext>
              </a:extLst>
            </p:cNvPr>
            <p:cNvSpPr/>
            <p:nvPr/>
          </p:nvSpPr>
          <p:spPr>
            <a:xfrm>
              <a:off x="10682505" y="2453054"/>
              <a:ext cx="187334" cy="181087"/>
            </a:xfrm>
            <a:prstGeom prst="triangle">
              <a:avLst/>
            </a:prstGeom>
            <a:solidFill>
              <a:srgbClr val="00B050"/>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28" name="TextBox 27">
              <a:extLst>
                <a:ext uri="{FF2B5EF4-FFF2-40B4-BE49-F238E27FC236}">
                  <a16:creationId xmlns:a16="http://schemas.microsoft.com/office/drawing/2014/main" id="{16FF8F10-73B0-48A8-A38E-75A07C15763F}"/>
                </a:ext>
              </a:extLst>
            </p:cNvPr>
            <p:cNvSpPr txBox="1"/>
            <p:nvPr/>
          </p:nvSpPr>
          <p:spPr>
            <a:xfrm>
              <a:off x="10825210" y="2381000"/>
              <a:ext cx="585422" cy="338554"/>
            </a:xfrm>
            <a:prstGeom prst="rect">
              <a:avLst/>
            </a:prstGeom>
            <a:noFill/>
          </p:spPr>
          <p:txBody>
            <a:bodyPr wrap="square" rtlCol="0">
              <a:spAutoFit/>
            </a:bodyPr>
            <a:lstStyle/>
            <a:p>
              <a:pPr algn="ctr"/>
              <a:r>
                <a:rPr lang="en-GB" sz="800" b="1">
                  <a:solidFill>
                    <a:srgbClr val="003C71"/>
                  </a:solidFill>
                  <a:latin typeface="Arial"/>
                  <a:cs typeface="Arial"/>
                </a:rPr>
                <a:t>Go Live</a:t>
              </a:r>
            </a:p>
            <a:p>
              <a:pPr algn="ctr"/>
              <a:r>
                <a:rPr lang="en-GB" sz="800" b="1">
                  <a:solidFill>
                    <a:srgbClr val="003C71"/>
                  </a:solidFill>
                  <a:latin typeface="Arial"/>
                  <a:cs typeface="Arial"/>
                </a:rPr>
                <a:t>Q3 2024</a:t>
              </a:r>
              <a:endParaRPr lang="en-IE" sz="750" b="1">
                <a:solidFill>
                  <a:srgbClr val="003C71"/>
                </a:solidFill>
                <a:latin typeface="Arial"/>
                <a:cs typeface="Arial"/>
              </a:endParaRPr>
            </a:p>
          </p:txBody>
        </p:sp>
      </p:grpSp>
      <p:grpSp>
        <p:nvGrpSpPr>
          <p:cNvPr id="27" name="Group 26">
            <a:extLst>
              <a:ext uri="{FF2B5EF4-FFF2-40B4-BE49-F238E27FC236}">
                <a16:creationId xmlns:a16="http://schemas.microsoft.com/office/drawing/2014/main" id="{4F1323D7-D6BB-5AEE-ECE3-2903D966FCFF}"/>
              </a:ext>
            </a:extLst>
          </p:cNvPr>
          <p:cNvGrpSpPr/>
          <p:nvPr/>
        </p:nvGrpSpPr>
        <p:grpSpPr>
          <a:xfrm>
            <a:off x="8207344" y="4229997"/>
            <a:ext cx="509315" cy="388138"/>
            <a:chOff x="8289512" y="4073325"/>
            <a:chExt cx="509315" cy="256074"/>
          </a:xfrm>
        </p:grpSpPr>
        <p:sp>
          <p:nvSpPr>
            <p:cNvPr id="11" name="TextBox 10">
              <a:extLst>
                <a:ext uri="{FF2B5EF4-FFF2-40B4-BE49-F238E27FC236}">
                  <a16:creationId xmlns:a16="http://schemas.microsoft.com/office/drawing/2014/main" id="{21D76DC2-1624-48F9-89BF-C18FC670CAD1}"/>
                </a:ext>
              </a:extLst>
            </p:cNvPr>
            <p:cNvSpPr txBox="1"/>
            <p:nvPr/>
          </p:nvSpPr>
          <p:spPr>
            <a:xfrm>
              <a:off x="8289512" y="4187260"/>
              <a:ext cx="509315" cy="142139"/>
            </a:xfrm>
            <a:prstGeom prst="rect">
              <a:avLst/>
            </a:prstGeom>
            <a:noFill/>
          </p:spPr>
          <p:txBody>
            <a:bodyPr wrap="square" lIns="91440" tIns="45720" rIns="91440" bIns="45720" rtlCol="0" anchor="t">
              <a:spAutoFit/>
            </a:bodyPr>
            <a:lstStyle/>
            <a:p>
              <a:pPr algn="ctr"/>
              <a:r>
                <a:rPr lang="en-GB" sz="800">
                  <a:solidFill>
                    <a:srgbClr val="003C71"/>
                  </a:solidFill>
                  <a:latin typeface="Arial"/>
                  <a:cs typeface="Arial"/>
                </a:rPr>
                <a:t>Draft 3</a:t>
              </a:r>
              <a:endParaRPr lang="en-IE" sz="800">
                <a:solidFill>
                  <a:srgbClr val="003C71"/>
                </a:solidFill>
                <a:latin typeface="Arial"/>
                <a:cs typeface="Arial"/>
              </a:endParaRPr>
            </a:p>
          </p:txBody>
        </p:sp>
        <p:sp>
          <p:nvSpPr>
            <p:cNvPr id="34" name="Isosceles Triangle 33">
              <a:extLst>
                <a:ext uri="{FF2B5EF4-FFF2-40B4-BE49-F238E27FC236}">
                  <a16:creationId xmlns:a16="http://schemas.microsoft.com/office/drawing/2014/main" id="{E38D18BD-D7ED-4B6F-902C-236278FA0753}"/>
                </a:ext>
              </a:extLst>
            </p:cNvPr>
            <p:cNvSpPr/>
            <p:nvPr/>
          </p:nvSpPr>
          <p:spPr>
            <a:xfrm>
              <a:off x="8577425" y="4073325"/>
              <a:ext cx="179881" cy="120547"/>
            </a:xfrm>
            <a:prstGeom prst="triangle">
              <a:avLst/>
            </a:prstGeom>
            <a:solidFill>
              <a:srgbClr val="0000FF"/>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grpSp>
      <p:grpSp>
        <p:nvGrpSpPr>
          <p:cNvPr id="6" name="Group 5">
            <a:extLst>
              <a:ext uri="{FF2B5EF4-FFF2-40B4-BE49-F238E27FC236}">
                <a16:creationId xmlns:a16="http://schemas.microsoft.com/office/drawing/2014/main" id="{72B056AB-B24C-7360-C569-69D959CE3990}"/>
              </a:ext>
            </a:extLst>
          </p:cNvPr>
          <p:cNvGrpSpPr/>
          <p:nvPr/>
        </p:nvGrpSpPr>
        <p:grpSpPr>
          <a:xfrm>
            <a:off x="9737709" y="4229657"/>
            <a:ext cx="704295" cy="377972"/>
            <a:chOff x="9021899" y="3971817"/>
            <a:chExt cx="704295" cy="377972"/>
          </a:xfrm>
        </p:grpSpPr>
        <p:sp>
          <p:nvSpPr>
            <p:cNvPr id="35" name="Isosceles Triangle 34">
              <a:extLst>
                <a:ext uri="{FF2B5EF4-FFF2-40B4-BE49-F238E27FC236}">
                  <a16:creationId xmlns:a16="http://schemas.microsoft.com/office/drawing/2014/main" id="{9996B0BC-533C-47F5-8CAE-9517D2E95023}"/>
                </a:ext>
              </a:extLst>
            </p:cNvPr>
            <p:cNvSpPr/>
            <p:nvPr/>
          </p:nvSpPr>
          <p:spPr>
            <a:xfrm>
              <a:off x="9278522" y="3971817"/>
              <a:ext cx="185611" cy="184478"/>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39" name="TextBox 38">
              <a:extLst>
                <a:ext uri="{FF2B5EF4-FFF2-40B4-BE49-F238E27FC236}">
                  <a16:creationId xmlns:a16="http://schemas.microsoft.com/office/drawing/2014/main" id="{87DA2EFF-A58D-4A7C-8620-8E0B56467E26}"/>
                </a:ext>
              </a:extLst>
            </p:cNvPr>
            <p:cNvSpPr txBox="1"/>
            <p:nvPr/>
          </p:nvSpPr>
          <p:spPr>
            <a:xfrm>
              <a:off x="9021899" y="4134345"/>
              <a:ext cx="704295" cy="215444"/>
            </a:xfrm>
            <a:prstGeom prst="rect">
              <a:avLst/>
            </a:prstGeom>
            <a:noFill/>
          </p:spPr>
          <p:txBody>
            <a:bodyPr wrap="square" lIns="91440" tIns="45720" rIns="91440" bIns="45720" rtlCol="0" anchor="t">
              <a:spAutoFit/>
            </a:bodyPr>
            <a:lstStyle/>
            <a:p>
              <a:pPr algn="ctr"/>
              <a:r>
                <a:rPr lang="en-GB" sz="800">
                  <a:solidFill>
                    <a:srgbClr val="003C71"/>
                  </a:solidFill>
                  <a:latin typeface="Arial"/>
                  <a:cs typeface="Arial"/>
                </a:rPr>
                <a:t>Draft 4</a:t>
              </a:r>
              <a:endParaRPr lang="en-IE" sz="800" b="1">
                <a:solidFill>
                  <a:srgbClr val="003C71"/>
                </a:solidFill>
                <a:latin typeface="Arial"/>
                <a:cs typeface="Arial"/>
              </a:endParaRPr>
            </a:p>
          </p:txBody>
        </p:sp>
      </p:grpSp>
      <p:grpSp>
        <p:nvGrpSpPr>
          <p:cNvPr id="48" name="Group 47">
            <a:extLst>
              <a:ext uri="{FF2B5EF4-FFF2-40B4-BE49-F238E27FC236}">
                <a16:creationId xmlns:a16="http://schemas.microsoft.com/office/drawing/2014/main" id="{C4A3EE3B-20A5-D8EF-64A1-51F02429A736}"/>
              </a:ext>
            </a:extLst>
          </p:cNvPr>
          <p:cNvGrpSpPr/>
          <p:nvPr/>
        </p:nvGrpSpPr>
        <p:grpSpPr>
          <a:xfrm>
            <a:off x="3095785" y="3441339"/>
            <a:ext cx="1306821" cy="439731"/>
            <a:chOff x="3104594" y="3613462"/>
            <a:chExt cx="1306821" cy="439731"/>
          </a:xfrm>
        </p:grpSpPr>
        <p:sp>
          <p:nvSpPr>
            <p:cNvPr id="42" name="Isosceles Triangle 41">
              <a:extLst>
                <a:ext uri="{FF2B5EF4-FFF2-40B4-BE49-F238E27FC236}">
                  <a16:creationId xmlns:a16="http://schemas.microsoft.com/office/drawing/2014/main" id="{EB6F22E3-422E-4A1E-8FC3-B7DF5743931C}"/>
                </a:ext>
              </a:extLst>
            </p:cNvPr>
            <p:cNvSpPr/>
            <p:nvPr/>
          </p:nvSpPr>
          <p:spPr>
            <a:xfrm>
              <a:off x="3665766" y="3613462"/>
              <a:ext cx="183589" cy="182545"/>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43" name="TextBox 42">
              <a:extLst>
                <a:ext uri="{FF2B5EF4-FFF2-40B4-BE49-F238E27FC236}">
                  <a16:creationId xmlns:a16="http://schemas.microsoft.com/office/drawing/2014/main" id="{939B50AA-BDF4-4932-960C-5A66A00B8A22}"/>
                </a:ext>
              </a:extLst>
            </p:cNvPr>
            <p:cNvSpPr txBox="1"/>
            <p:nvPr/>
          </p:nvSpPr>
          <p:spPr>
            <a:xfrm>
              <a:off x="3104594" y="3745416"/>
              <a:ext cx="1306821"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v14 Working </a:t>
              </a:r>
              <a:endParaRPr lang="en-IE" sz="700">
                <a:solidFill>
                  <a:srgbClr val="003C71"/>
                </a:solidFill>
                <a:latin typeface="Arial"/>
                <a:cs typeface="Arial"/>
              </a:endParaRPr>
            </a:p>
            <a:p>
              <a:pPr algn="ctr"/>
              <a:r>
                <a:rPr lang="en-GB" sz="700">
                  <a:solidFill>
                    <a:srgbClr val="003C71"/>
                  </a:solidFill>
                  <a:latin typeface="Arial"/>
                  <a:cs typeface="Arial"/>
                </a:rPr>
                <a:t>V6 Draft 1</a:t>
              </a:r>
              <a:endParaRPr lang="en-IE" sz="700">
                <a:solidFill>
                  <a:srgbClr val="003C71"/>
                </a:solidFill>
                <a:latin typeface="Arial"/>
                <a:cs typeface="Arial"/>
              </a:endParaRPr>
            </a:p>
          </p:txBody>
        </p:sp>
      </p:grpSp>
      <p:grpSp>
        <p:nvGrpSpPr>
          <p:cNvPr id="41" name="Group 40">
            <a:extLst>
              <a:ext uri="{FF2B5EF4-FFF2-40B4-BE49-F238E27FC236}">
                <a16:creationId xmlns:a16="http://schemas.microsoft.com/office/drawing/2014/main" id="{6E29EB72-17FE-081A-2AC3-0DDC3BECA852}"/>
              </a:ext>
            </a:extLst>
          </p:cNvPr>
          <p:cNvGrpSpPr/>
          <p:nvPr/>
        </p:nvGrpSpPr>
        <p:grpSpPr>
          <a:xfrm>
            <a:off x="1420970" y="2660492"/>
            <a:ext cx="1364764" cy="464680"/>
            <a:chOff x="1420970" y="2672278"/>
            <a:chExt cx="1364764" cy="464680"/>
          </a:xfrm>
        </p:grpSpPr>
        <p:sp>
          <p:nvSpPr>
            <p:cNvPr id="45" name="Isosceles Triangle 44">
              <a:extLst>
                <a:ext uri="{FF2B5EF4-FFF2-40B4-BE49-F238E27FC236}">
                  <a16:creationId xmlns:a16="http://schemas.microsoft.com/office/drawing/2014/main" id="{4CD62EA2-37B0-4694-996A-4B1521E7A7F6}"/>
                </a:ext>
              </a:extLst>
            </p:cNvPr>
            <p:cNvSpPr/>
            <p:nvPr/>
          </p:nvSpPr>
          <p:spPr>
            <a:xfrm>
              <a:off x="2053384" y="2672278"/>
              <a:ext cx="181605" cy="187912"/>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46" name="TextBox 45">
              <a:extLst>
                <a:ext uri="{FF2B5EF4-FFF2-40B4-BE49-F238E27FC236}">
                  <a16:creationId xmlns:a16="http://schemas.microsoft.com/office/drawing/2014/main" id="{8261ECB8-5DEC-45BF-A43A-33D9D441AB3D}"/>
                </a:ext>
              </a:extLst>
            </p:cNvPr>
            <p:cNvSpPr txBox="1"/>
            <p:nvPr/>
          </p:nvSpPr>
          <p:spPr>
            <a:xfrm>
              <a:off x="1420970" y="2829181"/>
              <a:ext cx="1364764"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Publish Draft Schema Sharing Approach via RMDS</a:t>
              </a:r>
              <a:endParaRPr lang="en-IE" sz="700">
                <a:solidFill>
                  <a:srgbClr val="003C71"/>
                </a:solidFill>
                <a:latin typeface="Arial"/>
                <a:cs typeface="Arial"/>
              </a:endParaRPr>
            </a:p>
          </p:txBody>
        </p:sp>
      </p:grpSp>
      <p:grpSp>
        <p:nvGrpSpPr>
          <p:cNvPr id="30" name="Group 29">
            <a:extLst>
              <a:ext uri="{FF2B5EF4-FFF2-40B4-BE49-F238E27FC236}">
                <a16:creationId xmlns:a16="http://schemas.microsoft.com/office/drawing/2014/main" id="{7761D0AB-7D82-ED8E-56D5-50A3D77537BD}"/>
              </a:ext>
            </a:extLst>
          </p:cNvPr>
          <p:cNvGrpSpPr/>
          <p:nvPr/>
        </p:nvGrpSpPr>
        <p:grpSpPr>
          <a:xfrm>
            <a:off x="10813411" y="5008675"/>
            <a:ext cx="948731" cy="527385"/>
            <a:chOff x="10300967" y="4454727"/>
            <a:chExt cx="948731" cy="527385"/>
          </a:xfrm>
        </p:grpSpPr>
        <p:sp>
          <p:nvSpPr>
            <p:cNvPr id="40" name="TextBox 39">
              <a:extLst>
                <a:ext uri="{FF2B5EF4-FFF2-40B4-BE49-F238E27FC236}">
                  <a16:creationId xmlns:a16="http://schemas.microsoft.com/office/drawing/2014/main" id="{DB012CF6-598B-4F01-8974-8FCCCF89B5DC}"/>
                </a:ext>
              </a:extLst>
            </p:cNvPr>
            <p:cNvSpPr txBox="1"/>
            <p:nvPr/>
          </p:nvSpPr>
          <p:spPr>
            <a:xfrm>
              <a:off x="10300967" y="4674335"/>
              <a:ext cx="948731"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v14.00.00 Schema Final (For Cutover)</a:t>
              </a:r>
              <a:endParaRPr lang="en-IE" sz="700">
                <a:solidFill>
                  <a:srgbClr val="003C71"/>
                </a:solidFill>
                <a:latin typeface="Arial"/>
                <a:cs typeface="Arial"/>
              </a:endParaRPr>
            </a:p>
          </p:txBody>
        </p:sp>
        <p:sp>
          <p:nvSpPr>
            <p:cNvPr id="47" name="Isosceles Triangle 46">
              <a:extLst>
                <a:ext uri="{FF2B5EF4-FFF2-40B4-BE49-F238E27FC236}">
                  <a16:creationId xmlns:a16="http://schemas.microsoft.com/office/drawing/2014/main" id="{AE27ADDE-CE37-4006-A6D1-834767181482}"/>
                </a:ext>
              </a:extLst>
            </p:cNvPr>
            <p:cNvSpPr/>
            <p:nvPr/>
          </p:nvSpPr>
          <p:spPr>
            <a:xfrm>
              <a:off x="10692331" y="4454727"/>
              <a:ext cx="179881" cy="184478"/>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grpSp>
      <p:grpSp>
        <p:nvGrpSpPr>
          <p:cNvPr id="26" name="Group 25">
            <a:extLst>
              <a:ext uri="{FF2B5EF4-FFF2-40B4-BE49-F238E27FC236}">
                <a16:creationId xmlns:a16="http://schemas.microsoft.com/office/drawing/2014/main" id="{603232C4-85CF-AC44-C1B2-6C761ECB7885}"/>
              </a:ext>
            </a:extLst>
          </p:cNvPr>
          <p:cNvGrpSpPr/>
          <p:nvPr/>
        </p:nvGrpSpPr>
        <p:grpSpPr>
          <a:xfrm>
            <a:off x="5391705" y="4230016"/>
            <a:ext cx="704295" cy="388122"/>
            <a:chOff x="5452927" y="4039608"/>
            <a:chExt cx="704295" cy="388122"/>
          </a:xfrm>
        </p:grpSpPr>
        <p:sp>
          <p:nvSpPr>
            <p:cNvPr id="38" name="TextBox 37">
              <a:extLst>
                <a:ext uri="{FF2B5EF4-FFF2-40B4-BE49-F238E27FC236}">
                  <a16:creationId xmlns:a16="http://schemas.microsoft.com/office/drawing/2014/main" id="{9C0ECC14-AFBE-4075-B946-271FD04905E8}"/>
                </a:ext>
              </a:extLst>
            </p:cNvPr>
            <p:cNvSpPr txBox="1"/>
            <p:nvPr/>
          </p:nvSpPr>
          <p:spPr>
            <a:xfrm>
              <a:off x="5452927" y="4212286"/>
              <a:ext cx="704295" cy="215444"/>
            </a:xfrm>
            <a:prstGeom prst="rect">
              <a:avLst/>
            </a:prstGeom>
            <a:noFill/>
          </p:spPr>
          <p:txBody>
            <a:bodyPr wrap="square" lIns="91440" tIns="45720" rIns="91440" bIns="45720" rtlCol="0" anchor="t">
              <a:spAutoFit/>
            </a:bodyPr>
            <a:lstStyle/>
            <a:p>
              <a:pPr algn="ctr"/>
              <a:r>
                <a:rPr lang="en-GB" sz="800">
                  <a:solidFill>
                    <a:srgbClr val="003C71"/>
                  </a:solidFill>
                  <a:latin typeface="Arial"/>
                  <a:cs typeface="Arial"/>
                </a:rPr>
                <a:t>Draft 2</a:t>
              </a:r>
              <a:endParaRPr lang="en-IE" sz="800">
                <a:solidFill>
                  <a:srgbClr val="003C71"/>
                </a:solidFill>
                <a:latin typeface="Arial"/>
                <a:cs typeface="Arial"/>
              </a:endParaRPr>
            </a:p>
          </p:txBody>
        </p:sp>
        <p:sp>
          <p:nvSpPr>
            <p:cNvPr id="56" name="Isosceles Triangle 55">
              <a:extLst>
                <a:ext uri="{FF2B5EF4-FFF2-40B4-BE49-F238E27FC236}">
                  <a16:creationId xmlns:a16="http://schemas.microsoft.com/office/drawing/2014/main" id="{D02C1019-5EB5-479C-A5E5-B02719F0E37D}"/>
                </a:ext>
              </a:extLst>
            </p:cNvPr>
            <p:cNvSpPr/>
            <p:nvPr/>
          </p:nvSpPr>
          <p:spPr>
            <a:xfrm>
              <a:off x="5722055" y="4039608"/>
              <a:ext cx="185611" cy="184478"/>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grpSp>
      <p:sp>
        <p:nvSpPr>
          <p:cNvPr id="3" name="Rectangle: Rounded Corners 2">
            <a:extLst>
              <a:ext uri="{FF2B5EF4-FFF2-40B4-BE49-F238E27FC236}">
                <a16:creationId xmlns:a16="http://schemas.microsoft.com/office/drawing/2014/main" id="{4EA47BD0-A51A-4FC4-8E2C-1AD8AE0DEF64}"/>
              </a:ext>
            </a:extLst>
          </p:cNvPr>
          <p:cNvSpPr/>
          <p:nvPr/>
        </p:nvSpPr>
        <p:spPr bwMode="auto">
          <a:xfrm>
            <a:off x="1422813" y="1877818"/>
            <a:ext cx="8755385" cy="216816"/>
          </a:xfrm>
          <a:prstGeom prst="roundRect">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algn="ctr"/>
            <a:r>
              <a:rPr lang="en-IE" sz="700" b="1" kern="0">
                <a:solidFill>
                  <a:srgbClr val="FFFFFF"/>
                </a:solidFill>
                <a:latin typeface="Arial"/>
                <a:cs typeface="Arial"/>
              </a:rPr>
              <a:t>Design, Build &amp; Test</a:t>
            </a:r>
          </a:p>
        </p:txBody>
      </p:sp>
      <p:grpSp>
        <p:nvGrpSpPr>
          <p:cNvPr id="32" name="Group 31">
            <a:extLst>
              <a:ext uri="{FF2B5EF4-FFF2-40B4-BE49-F238E27FC236}">
                <a16:creationId xmlns:a16="http://schemas.microsoft.com/office/drawing/2014/main" id="{185EAE01-1FC7-674B-1F43-2960B215E58E}"/>
              </a:ext>
            </a:extLst>
          </p:cNvPr>
          <p:cNvGrpSpPr/>
          <p:nvPr/>
        </p:nvGrpSpPr>
        <p:grpSpPr>
          <a:xfrm>
            <a:off x="10209633" y="1877490"/>
            <a:ext cx="966078" cy="577198"/>
            <a:chOff x="9343989" y="2046074"/>
            <a:chExt cx="1296425" cy="577198"/>
          </a:xfrm>
        </p:grpSpPr>
        <p:sp>
          <p:nvSpPr>
            <p:cNvPr id="49" name="Rectangle: Rounded Corners 48">
              <a:extLst>
                <a:ext uri="{FF2B5EF4-FFF2-40B4-BE49-F238E27FC236}">
                  <a16:creationId xmlns:a16="http://schemas.microsoft.com/office/drawing/2014/main" id="{52299285-A618-49A4-B7CE-2DBC611635BD}"/>
                </a:ext>
              </a:extLst>
            </p:cNvPr>
            <p:cNvSpPr/>
            <p:nvPr/>
          </p:nvSpPr>
          <p:spPr bwMode="auto">
            <a:xfrm>
              <a:off x="9343989" y="2319643"/>
              <a:ext cx="623659" cy="303629"/>
            </a:xfrm>
            <a:prstGeom prst="roundRect">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algn="ctr">
                <a:defRPr/>
              </a:pPr>
              <a:r>
                <a:rPr lang="en-GB" sz="600" kern="0">
                  <a:solidFill>
                    <a:srgbClr val="FFFFFF"/>
                  </a:solidFill>
                  <a:latin typeface="Arial"/>
                  <a:cs typeface="Arial"/>
                </a:rPr>
                <a:t>Plan </a:t>
              </a:r>
            </a:p>
            <a:p>
              <a:pPr algn="ctr">
                <a:defRPr/>
              </a:pPr>
              <a:r>
                <a:rPr lang="en-GB" sz="600" kern="0">
                  <a:solidFill>
                    <a:srgbClr val="FFFFFF"/>
                  </a:solidFill>
                  <a:latin typeface="Arial"/>
                  <a:cs typeface="Arial"/>
                </a:rPr>
                <a:t>&amp; Prep</a:t>
              </a:r>
            </a:p>
          </p:txBody>
        </p:sp>
        <p:sp>
          <p:nvSpPr>
            <p:cNvPr id="50" name="Rectangle: Rounded Corners 49">
              <a:extLst>
                <a:ext uri="{FF2B5EF4-FFF2-40B4-BE49-F238E27FC236}">
                  <a16:creationId xmlns:a16="http://schemas.microsoft.com/office/drawing/2014/main" id="{DEDC5969-CE60-4ABE-B404-992FA4B5D4B3}"/>
                </a:ext>
              </a:extLst>
            </p:cNvPr>
            <p:cNvSpPr/>
            <p:nvPr/>
          </p:nvSpPr>
          <p:spPr bwMode="auto">
            <a:xfrm>
              <a:off x="9994907" y="2316355"/>
              <a:ext cx="645507" cy="201474"/>
            </a:xfrm>
            <a:prstGeom prst="roundRect">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algn="ctr">
                <a:defRPr/>
              </a:pPr>
              <a:r>
                <a:rPr lang="en-GB" sz="600" kern="0">
                  <a:solidFill>
                    <a:srgbClr val="FFFFFF"/>
                  </a:solidFill>
                  <a:latin typeface="Arial"/>
                  <a:cs typeface="Arial"/>
                </a:rPr>
                <a:t> Exec</a:t>
              </a:r>
            </a:p>
          </p:txBody>
        </p:sp>
        <p:sp>
          <p:nvSpPr>
            <p:cNvPr id="51" name="Rectangle: Rounded Corners 50">
              <a:extLst>
                <a:ext uri="{FF2B5EF4-FFF2-40B4-BE49-F238E27FC236}">
                  <a16:creationId xmlns:a16="http://schemas.microsoft.com/office/drawing/2014/main" id="{EC397523-892F-463A-AFBE-79B854C95CBF}"/>
                </a:ext>
              </a:extLst>
            </p:cNvPr>
            <p:cNvSpPr/>
            <p:nvPr/>
          </p:nvSpPr>
          <p:spPr bwMode="auto">
            <a:xfrm>
              <a:off x="9343989" y="2046074"/>
              <a:ext cx="1296425" cy="218500"/>
            </a:xfrm>
            <a:prstGeom prst="roundRect">
              <a:avLst/>
            </a:pr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algn="ctr"/>
              <a:r>
                <a:rPr lang="en-IE" sz="700" b="1" kern="0">
                  <a:solidFill>
                    <a:srgbClr val="FFFFFF"/>
                  </a:solidFill>
                  <a:latin typeface="Arial"/>
                  <a:cs typeface="Arial"/>
                </a:rPr>
                <a:t>IPT Window </a:t>
              </a:r>
            </a:p>
          </p:txBody>
        </p:sp>
      </p:grpSp>
      <p:grpSp>
        <p:nvGrpSpPr>
          <p:cNvPr id="44" name="Group 43">
            <a:extLst>
              <a:ext uri="{FF2B5EF4-FFF2-40B4-BE49-F238E27FC236}">
                <a16:creationId xmlns:a16="http://schemas.microsoft.com/office/drawing/2014/main" id="{3340A708-A4AD-137B-77AE-FACDB966A8C0}"/>
              </a:ext>
            </a:extLst>
          </p:cNvPr>
          <p:cNvGrpSpPr/>
          <p:nvPr/>
        </p:nvGrpSpPr>
        <p:grpSpPr>
          <a:xfrm>
            <a:off x="3189604" y="2664408"/>
            <a:ext cx="1707637" cy="487990"/>
            <a:chOff x="3167581" y="2645004"/>
            <a:chExt cx="1707637" cy="487990"/>
          </a:xfrm>
        </p:grpSpPr>
        <p:sp>
          <p:nvSpPr>
            <p:cNvPr id="24" name="Isosceles Triangle 23">
              <a:extLst>
                <a:ext uri="{FF2B5EF4-FFF2-40B4-BE49-F238E27FC236}">
                  <a16:creationId xmlns:a16="http://schemas.microsoft.com/office/drawing/2014/main" id="{CAA07EDB-4515-D59A-B1AC-6A4081C6A612}"/>
                </a:ext>
              </a:extLst>
            </p:cNvPr>
            <p:cNvSpPr/>
            <p:nvPr/>
          </p:nvSpPr>
          <p:spPr>
            <a:xfrm>
              <a:off x="3920347" y="2645004"/>
              <a:ext cx="181605" cy="186861"/>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25" name="TextBox 24">
              <a:extLst>
                <a:ext uri="{FF2B5EF4-FFF2-40B4-BE49-F238E27FC236}">
                  <a16:creationId xmlns:a16="http://schemas.microsoft.com/office/drawing/2014/main" id="{31A4A400-E4CE-CA36-22DB-79FEC90A9657}"/>
                </a:ext>
              </a:extLst>
            </p:cNvPr>
            <p:cNvSpPr txBox="1"/>
            <p:nvPr/>
          </p:nvSpPr>
          <p:spPr>
            <a:xfrm>
              <a:off x="3167581" y="2825217"/>
              <a:ext cx="1707637"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Publish Updated Draft Schema Sharing Approach v2.0 via RMDS</a:t>
              </a:r>
              <a:endParaRPr lang="en-IE" sz="700">
                <a:solidFill>
                  <a:srgbClr val="003C71"/>
                </a:solidFill>
                <a:latin typeface="Arial"/>
                <a:cs typeface="Arial"/>
              </a:endParaRPr>
            </a:p>
          </p:txBody>
        </p:sp>
      </p:grpSp>
      <p:grpSp>
        <p:nvGrpSpPr>
          <p:cNvPr id="57" name="Group 56">
            <a:extLst>
              <a:ext uri="{FF2B5EF4-FFF2-40B4-BE49-F238E27FC236}">
                <a16:creationId xmlns:a16="http://schemas.microsoft.com/office/drawing/2014/main" id="{FFBABC1E-54F5-EEFE-8E5C-1F83DC2D915B}"/>
              </a:ext>
            </a:extLst>
          </p:cNvPr>
          <p:cNvGrpSpPr/>
          <p:nvPr/>
        </p:nvGrpSpPr>
        <p:grpSpPr>
          <a:xfrm>
            <a:off x="2279337" y="4230093"/>
            <a:ext cx="1156641" cy="496467"/>
            <a:chOff x="2347242" y="4457361"/>
            <a:chExt cx="1156641" cy="496467"/>
          </a:xfrm>
        </p:grpSpPr>
        <p:sp>
          <p:nvSpPr>
            <p:cNvPr id="37" name="TextBox 36">
              <a:extLst>
                <a:ext uri="{FF2B5EF4-FFF2-40B4-BE49-F238E27FC236}">
                  <a16:creationId xmlns:a16="http://schemas.microsoft.com/office/drawing/2014/main" id="{C5705680-0D67-4476-808D-279CDFB8AF39}"/>
                </a:ext>
              </a:extLst>
            </p:cNvPr>
            <p:cNvSpPr txBox="1"/>
            <p:nvPr/>
          </p:nvSpPr>
          <p:spPr>
            <a:xfrm>
              <a:off x="2347242" y="4646051"/>
              <a:ext cx="1156641"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Draft 1 </a:t>
              </a:r>
              <a:endParaRPr lang="en-GB" sz="700">
                <a:solidFill>
                  <a:srgbClr val="003C71"/>
                </a:solidFill>
                <a:cs typeface="Arial"/>
              </a:endParaRPr>
            </a:p>
            <a:p>
              <a:pPr algn="ctr"/>
              <a:r>
                <a:rPr lang="en-GB" sz="700">
                  <a:solidFill>
                    <a:srgbClr val="003C71"/>
                  </a:solidFill>
                  <a:latin typeface="Arial"/>
                  <a:cs typeface="Arial"/>
                </a:rPr>
                <a:t>(Issued Nov 2022)</a:t>
              </a:r>
              <a:endParaRPr lang="en-IE" sz="700">
                <a:solidFill>
                  <a:srgbClr val="003C71"/>
                </a:solidFill>
                <a:latin typeface="Arial"/>
                <a:cs typeface="Arial"/>
              </a:endParaRPr>
            </a:p>
          </p:txBody>
        </p:sp>
        <p:sp>
          <p:nvSpPr>
            <p:cNvPr id="16" name="Isosceles Triangle 15">
              <a:extLst>
                <a:ext uri="{FF2B5EF4-FFF2-40B4-BE49-F238E27FC236}">
                  <a16:creationId xmlns:a16="http://schemas.microsoft.com/office/drawing/2014/main" id="{8475ED51-6C7B-4E46-88EF-7B72BF48D90C}"/>
                </a:ext>
              </a:extLst>
            </p:cNvPr>
            <p:cNvSpPr/>
            <p:nvPr/>
          </p:nvSpPr>
          <p:spPr>
            <a:xfrm>
              <a:off x="2824874" y="4457361"/>
              <a:ext cx="182034" cy="184445"/>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grpSp>
      <p:grpSp>
        <p:nvGrpSpPr>
          <p:cNvPr id="23" name="Group 22">
            <a:extLst>
              <a:ext uri="{FF2B5EF4-FFF2-40B4-BE49-F238E27FC236}">
                <a16:creationId xmlns:a16="http://schemas.microsoft.com/office/drawing/2014/main" id="{6983F971-E2AD-CF0B-B9DE-36462A9C9772}"/>
              </a:ext>
            </a:extLst>
          </p:cNvPr>
          <p:cNvGrpSpPr/>
          <p:nvPr/>
        </p:nvGrpSpPr>
        <p:grpSpPr>
          <a:xfrm>
            <a:off x="11205483" y="2099462"/>
            <a:ext cx="770029" cy="267362"/>
            <a:chOff x="11205483" y="2099462"/>
            <a:chExt cx="770029" cy="267362"/>
          </a:xfrm>
        </p:grpSpPr>
        <p:sp>
          <p:nvSpPr>
            <p:cNvPr id="20" name="Rectangle: Rounded Corners 19">
              <a:extLst>
                <a:ext uri="{FF2B5EF4-FFF2-40B4-BE49-F238E27FC236}">
                  <a16:creationId xmlns:a16="http://schemas.microsoft.com/office/drawing/2014/main" id="{FF704B0D-8235-7D7D-3147-18D01CB8F359}"/>
                </a:ext>
              </a:extLst>
            </p:cNvPr>
            <p:cNvSpPr/>
            <p:nvPr/>
          </p:nvSpPr>
          <p:spPr bwMode="auto">
            <a:xfrm>
              <a:off x="11205483" y="2140956"/>
              <a:ext cx="628854" cy="201474"/>
            </a:xfrm>
            <a:prstGeom prst="roundRect">
              <a:avLst/>
            </a:prstGeom>
            <a:solidFill>
              <a:schemeClr val="bg2">
                <a:lumMod val="40000"/>
                <a:lumOff val="60000"/>
              </a:schemeClr>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algn="ctr"/>
              <a:r>
                <a:rPr lang="en-IE" sz="600" b="1" kern="0">
                  <a:solidFill>
                    <a:schemeClr val="accent1"/>
                  </a:solidFill>
                  <a:latin typeface="Arial"/>
                  <a:cs typeface="Arial"/>
                </a:rPr>
                <a:t>Hypercare</a:t>
              </a:r>
              <a:endParaRPr lang="en-US" sz="600">
                <a:solidFill>
                  <a:schemeClr val="accent1"/>
                </a:solidFill>
              </a:endParaRPr>
            </a:p>
          </p:txBody>
        </p:sp>
        <p:sp>
          <p:nvSpPr>
            <p:cNvPr id="22" name="Flowchart: Extract 21">
              <a:extLst>
                <a:ext uri="{FF2B5EF4-FFF2-40B4-BE49-F238E27FC236}">
                  <a16:creationId xmlns:a16="http://schemas.microsoft.com/office/drawing/2014/main" id="{D95808BE-9D7E-52B7-F776-CA8F9935163B}"/>
                </a:ext>
              </a:extLst>
            </p:cNvPr>
            <p:cNvSpPr/>
            <p:nvPr/>
          </p:nvSpPr>
          <p:spPr bwMode="auto">
            <a:xfrm rot="5400000">
              <a:off x="11738983" y="2130295"/>
              <a:ext cx="267362" cy="205696"/>
            </a:xfrm>
            <a:prstGeom prst="flowChartExtract">
              <a:avLst/>
            </a:prstGeom>
            <a:solidFill>
              <a:schemeClr val="bg2">
                <a:lumMod val="40000"/>
                <a:lumOff val="60000"/>
              </a:schemeClr>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488" tIns="44450" rIns="90488" bIns="4445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Arial" charset="0"/>
              </a:endParaRPr>
            </a:p>
          </p:txBody>
        </p:sp>
      </p:grpSp>
      <p:grpSp>
        <p:nvGrpSpPr>
          <p:cNvPr id="17" name="Group 16">
            <a:extLst>
              <a:ext uri="{FF2B5EF4-FFF2-40B4-BE49-F238E27FC236}">
                <a16:creationId xmlns:a16="http://schemas.microsoft.com/office/drawing/2014/main" id="{ECBFE656-9F78-4DE0-2827-827A49FF349B}"/>
              </a:ext>
            </a:extLst>
          </p:cNvPr>
          <p:cNvGrpSpPr/>
          <p:nvPr/>
        </p:nvGrpSpPr>
        <p:grpSpPr>
          <a:xfrm>
            <a:off x="8781122" y="4230014"/>
            <a:ext cx="593981" cy="378861"/>
            <a:chOff x="8515215" y="4073325"/>
            <a:chExt cx="593981" cy="249953"/>
          </a:xfrm>
        </p:grpSpPr>
        <p:sp>
          <p:nvSpPr>
            <p:cNvPr id="19" name="TextBox 18">
              <a:extLst>
                <a:ext uri="{FF2B5EF4-FFF2-40B4-BE49-F238E27FC236}">
                  <a16:creationId xmlns:a16="http://schemas.microsoft.com/office/drawing/2014/main" id="{604A9FDE-2D23-AE51-713C-39844392E6C9}"/>
                </a:ext>
              </a:extLst>
            </p:cNvPr>
            <p:cNvSpPr txBox="1"/>
            <p:nvPr/>
          </p:nvSpPr>
          <p:spPr>
            <a:xfrm>
              <a:off x="8515215" y="4181139"/>
              <a:ext cx="593981" cy="142139"/>
            </a:xfrm>
            <a:prstGeom prst="rect">
              <a:avLst/>
            </a:prstGeom>
            <a:noFill/>
          </p:spPr>
          <p:txBody>
            <a:bodyPr wrap="square" lIns="91440" tIns="45720" rIns="91440" bIns="45720" rtlCol="0" anchor="t">
              <a:spAutoFit/>
            </a:bodyPr>
            <a:lstStyle/>
            <a:p>
              <a:pPr algn="ctr"/>
              <a:r>
                <a:rPr lang="en-GB" sz="800">
                  <a:solidFill>
                    <a:srgbClr val="003C71"/>
                  </a:solidFill>
                  <a:latin typeface="Arial"/>
                  <a:cs typeface="Arial"/>
                </a:rPr>
                <a:t>Draft 3.1</a:t>
              </a:r>
              <a:endParaRPr lang="en-IE" sz="800">
                <a:solidFill>
                  <a:srgbClr val="003C71"/>
                </a:solidFill>
                <a:latin typeface="Arial"/>
                <a:cs typeface="Arial"/>
              </a:endParaRPr>
            </a:p>
          </p:txBody>
        </p:sp>
        <p:sp>
          <p:nvSpPr>
            <p:cNvPr id="29" name="Isosceles Triangle 28">
              <a:extLst>
                <a:ext uri="{FF2B5EF4-FFF2-40B4-BE49-F238E27FC236}">
                  <a16:creationId xmlns:a16="http://schemas.microsoft.com/office/drawing/2014/main" id="{A4748000-5E82-6239-2319-A05F75DE6A12}"/>
                </a:ext>
              </a:extLst>
            </p:cNvPr>
            <p:cNvSpPr/>
            <p:nvPr/>
          </p:nvSpPr>
          <p:spPr>
            <a:xfrm>
              <a:off x="8577425" y="4073325"/>
              <a:ext cx="179881" cy="120547"/>
            </a:xfrm>
            <a:prstGeom prst="triangle">
              <a:avLst/>
            </a:prstGeom>
            <a:solidFill>
              <a:srgbClr val="FFFF00"/>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grpSp>
      <p:grpSp>
        <p:nvGrpSpPr>
          <p:cNvPr id="64" name="Group 63">
            <a:extLst>
              <a:ext uri="{FF2B5EF4-FFF2-40B4-BE49-F238E27FC236}">
                <a16:creationId xmlns:a16="http://schemas.microsoft.com/office/drawing/2014/main" id="{A21C8769-F6BB-B59B-7DB6-8B358933E28F}"/>
              </a:ext>
            </a:extLst>
          </p:cNvPr>
          <p:cNvGrpSpPr/>
          <p:nvPr/>
        </p:nvGrpSpPr>
        <p:grpSpPr>
          <a:xfrm>
            <a:off x="5333807" y="3441335"/>
            <a:ext cx="1306821" cy="439731"/>
            <a:chOff x="3104594" y="3613462"/>
            <a:chExt cx="1306821" cy="439731"/>
          </a:xfrm>
        </p:grpSpPr>
        <p:sp>
          <p:nvSpPr>
            <p:cNvPr id="65" name="Isosceles Triangle 64">
              <a:extLst>
                <a:ext uri="{FF2B5EF4-FFF2-40B4-BE49-F238E27FC236}">
                  <a16:creationId xmlns:a16="http://schemas.microsoft.com/office/drawing/2014/main" id="{DD34867F-23A6-BA8B-6E29-F8672075A4F6}"/>
                </a:ext>
              </a:extLst>
            </p:cNvPr>
            <p:cNvSpPr/>
            <p:nvPr/>
          </p:nvSpPr>
          <p:spPr>
            <a:xfrm>
              <a:off x="3665766" y="3613462"/>
              <a:ext cx="183589" cy="182545"/>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66" name="TextBox 65">
              <a:extLst>
                <a:ext uri="{FF2B5EF4-FFF2-40B4-BE49-F238E27FC236}">
                  <a16:creationId xmlns:a16="http://schemas.microsoft.com/office/drawing/2014/main" id="{9C35B3CE-5994-5D63-D550-70B506B3676D}"/>
                </a:ext>
              </a:extLst>
            </p:cNvPr>
            <p:cNvSpPr txBox="1"/>
            <p:nvPr/>
          </p:nvSpPr>
          <p:spPr>
            <a:xfrm>
              <a:off x="3104594" y="3745416"/>
              <a:ext cx="1306821"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v14 Working </a:t>
              </a:r>
              <a:endParaRPr lang="en-IE" sz="700">
                <a:solidFill>
                  <a:srgbClr val="003C71"/>
                </a:solidFill>
                <a:latin typeface="Arial"/>
                <a:cs typeface="Arial"/>
              </a:endParaRPr>
            </a:p>
            <a:p>
              <a:pPr algn="ctr"/>
              <a:r>
                <a:rPr lang="en-GB" sz="700">
                  <a:solidFill>
                    <a:srgbClr val="003C71"/>
                  </a:solidFill>
                  <a:latin typeface="Arial"/>
                  <a:cs typeface="Arial"/>
                </a:rPr>
                <a:t>V6 Draft 2</a:t>
              </a:r>
              <a:endParaRPr lang="en-IE" sz="700">
                <a:solidFill>
                  <a:srgbClr val="003C71"/>
                </a:solidFill>
                <a:latin typeface="Arial"/>
                <a:cs typeface="Arial"/>
              </a:endParaRPr>
            </a:p>
          </p:txBody>
        </p:sp>
      </p:grpSp>
      <p:grpSp>
        <p:nvGrpSpPr>
          <p:cNvPr id="55" name="Group 54">
            <a:extLst>
              <a:ext uri="{FF2B5EF4-FFF2-40B4-BE49-F238E27FC236}">
                <a16:creationId xmlns:a16="http://schemas.microsoft.com/office/drawing/2014/main" id="{C39442D7-8967-C684-9C0C-51E14C9D28B4}"/>
              </a:ext>
            </a:extLst>
          </p:cNvPr>
          <p:cNvGrpSpPr/>
          <p:nvPr/>
        </p:nvGrpSpPr>
        <p:grpSpPr>
          <a:xfrm>
            <a:off x="7416547" y="2664407"/>
            <a:ext cx="1707637" cy="487990"/>
            <a:chOff x="3167581" y="2645004"/>
            <a:chExt cx="1707637" cy="487990"/>
          </a:xfrm>
        </p:grpSpPr>
        <p:sp>
          <p:nvSpPr>
            <p:cNvPr id="62" name="Isosceles Triangle 61">
              <a:extLst>
                <a:ext uri="{FF2B5EF4-FFF2-40B4-BE49-F238E27FC236}">
                  <a16:creationId xmlns:a16="http://schemas.microsoft.com/office/drawing/2014/main" id="{903E3A91-2DEE-3D6A-1FAF-8CF8D68C5A4A}"/>
                </a:ext>
              </a:extLst>
            </p:cNvPr>
            <p:cNvSpPr/>
            <p:nvPr/>
          </p:nvSpPr>
          <p:spPr>
            <a:xfrm>
              <a:off x="3920347" y="2645004"/>
              <a:ext cx="181605" cy="186861"/>
            </a:xfrm>
            <a:prstGeom prst="triangle">
              <a:avLst/>
            </a:prstGeom>
            <a:solidFill>
              <a:srgbClr val="003AF2"/>
            </a:solidFill>
            <a:ln w="12700" cap="flat" cmpd="sng" algn="ctr">
              <a:solidFill>
                <a:srgbClr val="003C71">
                  <a:shade val="50000"/>
                </a:srgbClr>
              </a:solidFill>
              <a:prstDash val="solid"/>
              <a:miter lim="800000"/>
            </a:ln>
            <a:effectLst/>
          </p:spPr>
          <p:txBody>
            <a:bodyPr rtlCol="0" anchor="ctr"/>
            <a:lstStyle/>
            <a:p>
              <a:pPr algn="ctr">
                <a:defRPr/>
              </a:pPr>
              <a:endParaRPr lang="en-IE" sz="1013" kern="0">
                <a:solidFill>
                  <a:srgbClr val="A59D95"/>
                </a:solidFill>
                <a:latin typeface="Arial"/>
                <a:cs typeface="Arial"/>
              </a:endParaRPr>
            </a:p>
          </p:txBody>
        </p:sp>
        <p:sp>
          <p:nvSpPr>
            <p:cNvPr id="63" name="TextBox 62">
              <a:extLst>
                <a:ext uri="{FF2B5EF4-FFF2-40B4-BE49-F238E27FC236}">
                  <a16:creationId xmlns:a16="http://schemas.microsoft.com/office/drawing/2014/main" id="{4BFD9745-B8DA-2A65-8E69-AD64C448CFF8}"/>
                </a:ext>
              </a:extLst>
            </p:cNvPr>
            <p:cNvSpPr txBox="1"/>
            <p:nvPr/>
          </p:nvSpPr>
          <p:spPr>
            <a:xfrm>
              <a:off x="3167581" y="2825217"/>
              <a:ext cx="1707637" cy="307777"/>
            </a:xfrm>
            <a:prstGeom prst="rect">
              <a:avLst/>
            </a:prstGeom>
            <a:noFill/>
          </p:spPr>
          <p:txBody>
            <a:bodyPr wrap="square" lIns="91440" tIns="45720" rIns="91440" bIns="45720" rtlCol="0" anchor="t">
              <a:spAutoFit/>
            </a:bodyPr>
            <a:lstStyle/>
            <a:p>
              <a:pPr algn="ctr"/>
              <a:r>
                <a:rPr lang="en-GB" sz="700">
                  <a:solidFill>
                    <a:srgbClr val="003C71"/>
                  </a:solidFill>
                  <a:latin typeface="Arial"/>
                  <a:cs typeface="Arial"/>
                </a:rPr>
                <a:t>Publish Updated Draft Schema Sharing Approach </a:t>
              </a:r>
              <a:r>
                <a:rPr lang="en-GB" sz="700" err="1">
                  <a:solidFill>
                    <a:srgbClr val="003C71"/>
                  </a:solidFill>
                  <a:latin typeface="Arial"/>
                  <a:cs typeface="Arial"/>
                </a:rPr>
                <a:t>v3.0</a:t>
              </a:r>
              <a:r>
                <a:rPr lang="en-GB" sz="700">
                  <a:solidFill>
                    <a:srgbClr val="003C71"/>
                  </a:solidFill>
                  <a:latin typeface="Arial"/>
                  <a:cs typeface="Arial"/>
                </a:rPr>
                <a:t> via RMDS</a:t>
              </a:r>
              <a:endParaRPr lang="en-IE" sz="700">
                <a:solidFill>
                  <a:srgbClr val="003C71"/>
                </a:solidFill>
                <a:latin typeface="Arial"/>
                <a:cs typeface="Arial"/>
              </a:endParaRPr>
            </a:p>
          </p:txBody>
        </p:sp>
      </p:grpSp>
      <p:grpSp>
        <p:nvGrpSpPr>
          <p:cNvPr id="68" name="Group 67">
            <a:extLst>
              <a:ext uri="{FF2B5EF4-FFF2-40B4-BE49-F238E27FC236}">
                <a16:creationId xmlns:a16="http://schemas.microsoft.com/office/drawing/2014/main" id="{371C0F63-9E8B-DD6D-99FA-B10D263A9D1A}"/>
              </a:ext>
            </a:extLst>
          </p:cNvPr>
          <p:cNvGrpSpPr/>
          <p:nvPr/>
        </p:nvGrpSpPr>
        <p:grpSpPr>
          <a:xfrm>
            <a:off x="6654348" y="34925"/>
            <a:ext cx="2298583" cy="866561"/>
            <a:chOff x="6654348" y="34925"/>
            <a:chExt cx="2298583" cy="866561"/>
          </a:xfrm>
        </p:grpSpPr>
        <p:sp>
          <p:nvSpPr>
            <p:cNvPr id="33" name="TextBox 32">
              <a:extLst>
                <a:ext uri="{FF2B5EF4-FFF2-40B4-BE49-F238E27FC236}">
                  <a16:creationId xmlns:a16="http://schemas.microsoft.com/office/drawing/2014/main" id="{6CAB5F38-8200-2FCE-1A00-60B5DDA717A6}"/>
                </a:ext>
              </a:extLst>
            </p:cNvPr>
            <p:cNvSpPr txBox="1"/>
            <p:nvPr/>
          </p:nvSpPr>
          <p:spPr>
            <a:xfrm>
              <a:off x="7380259" y="34925"/>
              <a:ext cx="849341" cy="261610"/>
            </a:xfrm>
            <a:prstGeom prst="rect">
              <a:avLst/>
            </a:prstGeom>
            <a:noFill/>
          </p:spPr>
          <p:txBody>
            <a:bodyPr wrap="square" rtlCol="0">
              <a:spAutoFit/>
            </a:bodyPr>
            <a:lstStyle/>
            <a:p>
              <a:r>
                <a:rPr lang="en-IE" sz="1050" b="1"/>
                <a:t>LEGEND</a:t>
              </a:r>
            </a:p>
          </p:txBody>
        </p:sp>
        <p:grpSp>
          <p:nvGrpSpPr>
            <p:cNvPr id="52" name="Group 51">
              <a:extLst>
                <a:ext uri="{FF2B5EF4-FFF2-40B4-BE49-F238E27FC236}">
                  <a16:creationId xmlns:a16="http://schemas.microsoft.com/office/drawing/2014/main" id="{2019A708-AA7D-6A49-92BA-D68C83FCB640}"/>
                </a:ext>
              </a:extLst>
            </p:cNvPr>
            <p:cNvGrpSpPr/>
            <p:nvPr/>
          </p:nvGrpSpPr>
          <p:grpSpPr>
            <a:xfrm>
              <a:off x="7257983" y="229178"/>
              <a:ext cx="1165985" cy="246221"/>
              <a:chOff x="7096866" y="321207"/>
              <a:chExt cx="1165985" cy="246221"/>
            </a:xfrm>
          </p:grpSpPr>
          <p:sp>
            <p:nvSpPr>
              <p:cNvPr id="18" name="Isosceles Triangle 17">
                <a:extLst>
                  <a:ext uri="{FF2B5EF4-FFF2-40B4-BE49-F238E27FC236}">
                    <a16:creationId xmlns:a16="http://schemas.microsoft.com/office/drawing/2014/main" id="{906BE913-649E-4C35-AE3C-1060CC3002B6}"/>
                  </a:ext>
                </a:extLst>
              </p:cNvPr>
              <p:cNvSpPr/>
              <p:nvPr/>
            </p:nvSpPr>
            <p:spPr>
              <a:xfrm>
                <a:off x="7096866" y="351531"/>
                <a:ext cx="144000" cy="144000"/>
              </a:xfrm>
              <a:prstGeom prst="triangle">
                <a:avLst/>
              </a:prstGeom>
              <a:solidFill>
                <a:srgbClr val="0000FF"/>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a:solidFill>
                    <a:srgbClr val="A59D95"/>
                  </a:solidFill>
                  <a:latin typeface="Arial"/>
                  <a:cs typeface="Arial"/>
                </a:endParaRPr>
              </a:p>
            </p:txBody>
          </p:sp>
          <p:sp>
            <p:nvSpPr>
              <p:cNvPr id="36" name="TextBox 35">
                <a:extLst>
                  <a:ext uri="{FF2B5EF4-FFF2-40B4-BE49-F238E27FC236}">
                    <a16:creationId xmlns:a16="http://schemas.microsoft.com/office/drawing/2014/main" id="{29DFA5E3-7E20-D3B2-C72E-029E7FE2B4CD}"/>
                  </a:ext>
                </a:extLst>
              </p:cNvPr>
              <p:cNvSpPr txBox="1"/>
              <p:nvPr/>
            </p:nvSpPr>
            <p:spPr>
              <a:xfrm>
                <a:off x="7248698" y="321207"/>
                <a:ext cx="1014153" cy="246221"/>
              </a:xfrm>
              <a:prstGeom prst="rect">
                <a:avLst/>
              </a:prstGeom>
              <a:noFill/>
            </p:spPr>
            <p:txBody>
              <a:bodyPr wrap="square" rtlCol="0">
                <a:spAutoFit/>
              </a:bodyPr>
              <a:lstStyle/>
              <a:p>
                <a:r>
                  <a:rPr lang="en-IE" sz="1000"/>
                  <a:t>Key Milestone</a:t>
                </a:r>
              </a:p>
            </p:txBody>
          </p:sp>
        </p:grpSp>
        <p:grpSp>
          <p:nvGrpSpPr>
            <p:cNvPr id="53" name="Group 52">
              <a:extLst>
                <a:ext uri="{FF2B5EF4-FFF2-40B4-BE49-F238E27FC236}">
                  <a16:creationId xmlns:a16="http://schemas.microsoft.com/office/drawing/2014/main" id="{A6E3ED0E-F993-5CAA-6599-841C980E5A46}"/>
                </a:ext>
              </a:extLst>
            </p:cNvPr>
            <p:cNvGrpSpPr/>
            <p:nvPr/>
          </p:nvGrpSpPr>
          <p:grpSpPr>
            <a:xfrm>
              <a:off x="7259542" y="403757"/>
              <a:ext cx="1165985" cy="246221"/>
              <a:chOff x="7096866" y="321207"/>
              <a:chExt cx="1165985" cy="246221"/>
            </a:xfrm>
          </p:grpSpPr>
          <p:sp>
            <p:nvSpPr>
              <p:cNvPr id="54" name="Isosceles Triangle 53">
                <a:extLst>
                  <a:ext uri="{FF2B5EF4-FFF2-40B4-BE49-F238E27FC236}">
                    <a16:creationId xmlns:a16="http://schemas.microsoft.com/office/drawing/2014/main" id="{87FFD506-8255-9F57-43DD-23E4A7015564}"/>
                  </a:ext>
                </a:extLst>
              </p:cNvPr>
              <p:cNvSpPr/>
              <p:nvPr/>
            </p:nvSpPr>
            <p:spPr>
              <a:xfrm>
                <a:off x="7096866" y="351531"/>
                <a:ext cx="144000" cy="144000"/>
              </a:xfrm>
              <a:prstGeom prst="triangle">
                <a:avLst/>
              </a:prstGeom>
              <a:solidFill>
                <a:srgbClr val="FFFF0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a:solidFill>
                    <a:srgbClr val="A59D95"/>
                  </a:solidFill>
                  <a:latin typeface="Arial"/>
                  <a:cs typeface="Arial"/>
                </a:endParaRPr>
              </a:p>
            </p:txBody>
          </p:sp>
          <p:sp>
            <p:nvSpPr>
              <p:cNvPr id="58" name="TextBox 57">
                <a:extLst>
                  <a:ext uri="{FF2B5EF4-FFF2-40B4-BE49-F238E27FC236}">
                    <a16:creationId xmlns:a16="http://schemas.microsoft.com/office/drawing/2014/main" id="{D602CAA6-EF51-61F0-71B3-C471CA3470C5}"/>
                  </a:ext>
                </a:extLst>
              </p:cNvPr>
              <p:cNvSpPr txBox="1"/>
              <p:nvPr/>
            </p:nvSpPr>
            <p:spPr>
              <a:xfrm>
                <a:off x="7248698" y="321207"/>
                <a:ext cx="1014153" cy="246221"/>
              </a:xfrm>
              <a:prstGeom prst="rect">
                <a:avLst/>
              </a:prstGeom>
              <a:noFill/>
            </p:spPr>
            <p:txBody>
              <a:bodyPr wrap="square" rtlCol="0">
                <a:spAutoFit/>
              </a:bodyPr>
              <a:lstStyle/>
              <a:p>
                <a:r>
                  <a:rPr lang="en-IE" sz="1000"/>
                  <a:t>Placeholder</a:t>
                </a:r>
              </a:p>
            </p:txBody>
          </p:sp>
        </p:grpSp>
        <p:grpSp>
          <p:nvGrpSpPr>
            <p:cNvPr id="59" name="Group 58">
              <a:extLst>
                <a:ext uri="{FF2B5EF4-FFF2-40B4-BE49-F238E27FC236}">
                  <a16:creationId xmlns:a16="http://schemas.microsoft.com/office/drawing/2014/main" id="{15FB2010-D098-78B4-A727-7B87703EE274}"/>
                </a:ext>
              </a:extLst>
            </p:cNvPr>
            <p:cNvGrpSpPr/>
            <p:nvPr/>
          </p:nvGrpSpPr>
          <p:grpSpPr>
            <a:xfrm>
              <a:off x="7260347" y="579712"/>
              <a:ext cx="1165985" cy="246221"/>
              <a:chOff x="7096866" y="321207"/>
              <a:chExt cx="1165985" cy="246221"/>
            </a:xfrm>
          </p:grpSpPr>
          <p:sp>
            <p:nvSpPr>
              <p:cNvPr id="60" name="Isosceles Triangle 59">
                <a:extLst>
                  <a:ext uri="{FF2B5EF4-FFF2-40B4-BE49-F238E27FC236}">
                    <a16:creationId xmlns:a16="http://schemas.microsoft.com/office/drawing/2014/main" id="{3196FA77-F12B-3AC3-0C81-F0EB6A4C895B}"/>
                  </a:ext>
                </a:extLst>
              </p:cNvPr>
              <p:cNvSpPr/>
              <p:nvPr/>
            </p:nvSpPr>
            <p:spPr>
              <a:xfrm>
                <a:off x="7096866" y="351531"/>
                <a:ext cx="144000" cy="144000"/>
              </a:xfrm>
              <a:prstGeom prst="triangle">
                <a:avLst/>
              </a:prstGeom>
              <a:solidFill>
                <a:srgbClr val="00B050"/>
              </a:solid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350">
                  <a:solidFill>
                    <a:srgbClr val="A59D95"/>
                  </a:solidFill>
                  <a:latin typeface="Arial"/>
                  <a:cs typeface="Arial"/>
                </a:endParaRPr>
              </a:p>
            </p:txBody>
          </p:sp>
          <p:sp>
            <p:nvSpPr>
              <p:cNvPr id="61" name="TextBox 60">
                <a:extLst>
                  <a:ext uri="{FF2B5EF4-FFF2-40B4-BE49-F238E27FC236}">
                    <a16:creationId xmlns:a16="http://schemas.microsoft.com/office/drawing/2014/main" id="{07F8AB4D-BB4E-46D1-4752-64DC836DB14E}"/>
                  </a:ext>
                </a:extLst>
              </p:cNvPr>
              <p:cNvSpPr txBox="1"/>
              <p:nvPr/>
            </p:nvSpPr>
            <p:spPr>
              <a:xfrm>
                <a:off x="7248698" y="321207"/>
                <a:ext cx="1014153" cy="246221"/>
              </a:xfrm>
              <a:prstGeom prst="rect">
                <a:avLst/>
              </a:prstGeom>
              <a:noFill/>
            </p:spPr>
            <p:txBody>
              <a:bodyPr wrap="square" rtlCol="0">
                <a:spAutoFit/>
              </a:bodyPr>
              <a:lstStyle/>
              <a:p>
                <a:r>
                  <a:rPr lang="en-IE" sz="1000"/>
                  <a:t>Go Live</a:t>
                </a:r>
              </a:p>
            </p:txBody>
          </p:sp>
        </p:grpSp>
        <p:sp>
          <p:nvSpPr>
            <p:cNvPr id="67" name="Rectangle 66">
              <a:extLst>
                <a:ext uri="{FF2B5EF4-FFF2-40B4-BE49-F238E27FC236}">
                  <a16:creationId xmlns:a16="http://schemas.microsoft.com/office/drawing/2014/main" id="{FFECC4DC-6684-E078-6685-B42498920848}"/>
                </a:ext>
              </a:extLst>
            </p:cNvPr>
            <p:cNvSpPr/>
            <p:nvPr/>
          </p:nvSpPr>
          <p:spPr bwMode="auto">
            <a:xfrm>
              <a:off x="6654348" y="34925"/>
              <a:ext cx="2298583" cy="866561"/>
            </a:xfrm>
            <a:prstGeom prst="rect">
              <a:avLst/>
            </a:prstGeom>
            <a:noFill/>
            <a:ln w="38100" cap="flat" cmpd="sng" algn="ctr">
              <a:solidFill>
                <a:schemeClr val="accent1"/>
              </a:solidFill>
              <a:prstDash val="solid"/>
              <a:round/>
              <a:headEnd type="none" w="med" len="med"/>
              <a:tailEnd type="triangle" w="med" len="med"/>
            </a:ln>
            <a:effectLst/>
          </p:spPr>
          <p:txBody>
            <a:bodyPr vert="horz" wrap="none" lIns="90488" tIns="44450" rIns="90488" bIns="44450" numCol="1" rtlCol="0" anchor="ctr" anchorCtr="0" compatLnSpc="1">
              <a:prstTxWarp prst="textNoShape">
                <a:avLst/>
              </a:prstTxWarp>
              <a:spAutoFit/>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IE" sz="24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3704071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eaker Slide">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Breaker Slid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Breaker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reaker Slid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reaker Slid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reaker Slid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reaker Slid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reaker Slid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reaker Slid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reaker Slid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reaker Slid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reaker Slid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reaker Slid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reaker Slid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Corporate Template PPT07+ 23-04-13.potx" id="{7D98C1D1-654F-4FFD-8027-56ED266F596A}" vid="{1E8C8CAE-5AD0-4F0A-BA18-940152C8AA63}"/>
    </a:ext>
  </a:ext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Header &amp; Content">
  <a:themeElements>
    <a:clrScheme name="ESB Corporate i">
      <a:dk1>
        <a:srgbClr val="336699"/>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58A618"/>
      </a:accent6>
      <a:hlink>
        <a:srgbClr val="009FDF"/>
      </a:hlink>
      <a:folHlink>
        <a:srgbClr val="6E267B"/>
      </a:folHlink>
    </a:clrScheme>
    <a:fontScheme name="Blank Header &amp; Conten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Blank Header &amp; Conten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Header &amp; Conten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Header &amp; Conten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Header &amp; Conten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Header &amp; Conten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Header &amp; Conten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Header &amp; Conten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Header &amp; Conten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Header &amp; Conten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Header &amp; Conten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Header &amp; Conten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Header &amp; Conten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Header &amp; Content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Corporate Template PPT07+ 23-04-13.potx" id="{7D98C1D1-654F-4FFD-8027-56ED266F596A}" vid="{277979E6-375B-46D8-B4B9-C3BEA5B95854}"/>
    </a:ext>
  </a:extLst>
</a:theme>
</file>

<file path=ppt/theme/theme3.xml><?xml version="1.0" encoding="utf-8"?>
<a:theme xmlns:a="http://schemas.openxmlformats.org/drawingml/2006/main" name="12_ESBN">
  <a:themeElements>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60000"/>
            <a:lumOff val="4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prstDash val="dash"/>
          <a:tailEnd type="triangle" w="sm" len="sm"/>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Networks Template PPT07+ 25-04-13.potx" id="{B7E07621-578C-4EF1-B4D0-66027FC851CD}" vid="{012C34EE-367E-4874-80D9-1A6E0398ED11}"/>
    </a:ext>
  </a:extLst>
</a:theme>
</file>

<file path=ppt/theme/theme4.xml><?xml version="1.0" encoding="utf-8"?>
<a:theme xmlns:a="http://schemas.openxmlformats.org/drawingml/2006/main" name="1_ESBN">
  <a:themeElements>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Networks Template PPT07+ 25-04-13.potx" id="{B7E07621-578C-4EF1-B4D0-66027FC851CD}" vid="{012C34EE-367E-4874-80D9-1A6E0398ED11}"/>
    </a:ext>
  </a:extLst>
</a:theme>
</file>

<file path=ppt/theme/theme5.xml><?xml version="1.0" encoding="utf-8"?>
<a:theme xmlns:a="http://schemas.openxmlformats.org/drawingml/2006/main" name="ESBN">
  <a:themeElements>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Networks Template PPT07+ 25-04-13.potx" id="{B7E07621-578C-4EF1-B4D0-66027FC851CD}" vid="{012C34EE-367E-4874-80D9-1A6E0398ED11}"/>
    </a:ext>
  </a:extLst>
</a:theme>
</file>

<file path=ppt/theme/theme6.xml><?xml version="1.0" encoding="utf-8"?>
<a:theme xmlns:a="http://schemas.openxmlformats.org/drawingml/2006/main" name="11_ESBN">
  <a:themeElements>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Networks Template PPT07+ 25-04-13.potx" id="{B7E07621-578C-4EF1-B4D0-66027FC851CD}" vid="{012C34EE-367E-4874-80D9-1A6E0398ED11}"/>
    </a:ext>
  </a:extLst>
</a:theme>
</file>

<file path=ppt/theme/theme7.xml><?xml version="1.0" encoding="utf-8"?>
<a:theme xmlns:a="http://schemas.openxmlformats.org/drawingml/2006/main" name="13_ESBN">
  <a:themeElements>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lumMod val="60000"/>
            <a:lumOff val="40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prstDash val="dash"/>
          <a:tailEnd type="triangle" w="sm" len="sm"/>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SB 2013 Networks Template PPT07+ 25-04-13.potx" id="{B7E07621-578C-4EF1-B4D0-66027FC851CD}" vid="{012C34EE-367E-4874-80D9-1A6E0398ED11}"/>
    </a:ext>
  </a:extLst>
</a:theme>
</file>

<file path=ppt/theme/theme8.xml><?xml version="1.0" encoding="utf-8"?>
<a:theme xmlns:a="http://schemas.openxmlformats.org/drawingml/2006/main" name="2_ESB corporate PPT 2003 18-04-2013">
  <a:themeElements>
    <a:clrScheme name="1_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fontScheme name="1_ESB corporate PPT 2003 18-04-201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488" tIns="44450" rIns="90488" bIns="4445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488" tIns="44450" rIns="90488" bIns="44450" numCol="1" anchor="ctr"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Tx/>
          <a:buNone/>
          <a:tabLst/>
          <a:defRPr kumimoji="0" lang="en-IE" sz="2400" b="0" i="0" u="none" strike="noStrike" cap="none" normalizeH="0" baseline="0" smtClean="0">
            <a:ln>
              <a:noFill/>
            </a:ln>
            <a:solidFill>
              <a:schemeClr val="tx1"/>
            </a:solidFill>
            <a:effectLst/>
            <a:latin typeface="Arial" charset="0"/>
          </a:defRPr>
        </a:defPPr>
      </a:lstStyle>
    </a:lnDef>
  </a:objectDefaults>
  <a:extraClrSchemeLst>
    <a:extraClrScheme>
      <a:clrScheme name="1_ESB corporate PPT 2003 18-04-2013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ESB corporate PPT 2003 18-04-2013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ESB corporate PPT 2003 18-04-2013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ESB corporate PPT 2003 18-04-2013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ESB corporate PPT 2003 18-04-2013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ESB corporate PPT 2003 18-04-2013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ESB corporate PPT 2003 18-04-2013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ESB corporate PPT 2003 18-04-2013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ESB corporate PPT 2003 18-04-2013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ESB corporate PPT 2003 18-04-2013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ESB corporate PPT 2003 18-04-2013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ESB corporate PPT 2003 18-04-2013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ESB corporate PPT 2003 18-04-2013 13">
        <a:dk1>
          <a:srgbClr val="336699"/>
        </a:dk1>
        <a:lt1>
          <a:srgbClr val="FFFFFF"/>
        </a:lt1>
        <a:dk2>
          <a:srgbClr val="58A618"/>
        </a:dk2>
        <a:lt2>
          <a:srgbClr val="00A599"/>
        </a:lt2>
        <a:accent1>
          <a:srgbClr val="003C71"/>
        </a:accent1>
        <a:accent2>
          <a:srgbClr val="009FDF"/>
        </a:accent2>
        <a:accent3>
          <a:srgbClr val="FFFFFF"/>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
      <a:clrScheme name="1_ESB corporate PPT 2003 18-04-2013 14">
        <a:dk1>
          <a:srgbClr val="336699"/>
        </a:dk1>
        <a:lt1>
          <a:srgbClr val="A59D95"/>
        </a:lt1>
        <a:dk2>
          <a:srgbClr val="FFFFFF"/>
        </a:dk2>
        <a:lt2>
          <a:srgbClr val="B6BF00"/>
        </a:lt2>
        <a:accent1>
          <a:srgbClr val="003C71"/>
        </a:accent1>
        <a:accent2>
          <a:srgbClr val="009FDF"/>
        </a:accent2>
        <a:accent3>
          <a:srgbClr val="CFCCC8"/>
        </a:accent3>
        <a:accent4>
          <a:srgbClr val="2A5682"/>
        </a:accent4>
        <a:accent5>
          <a:srgbClr val="AAAFBB"/>
        </a:accent5>
        <a:accent6>
          <a:srgbClr val="0090CA"/>
        </a:accent6>
        <a:hlink>
          <a:srgbClr val="ECC200"/>
        </a:hlink>
        <a:folHlink>
          <a:srgbClr val="63666A"/>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Office Theme">
  <a:themeElements>
    <a:clrScheme name="ESB GB PPT">
      <a:dk1>
        <a:srgbClr val="467BBD"/>
      </a:dk1>
      <a:lt1>
        <a:srgbClr val="A59D95"/>
      </a:lt1>
      <a:dk2>
        <a:srgbClr val="FFFFFF"/>
      </a:dk2>
      <a:lt2>
        <a:srgbClr val="B6BF00"/>
      </a:lt2>
      <a:accent1>
        <a:srgbClr val="003C71"/>
      </a:accent1>
      <a:accent2>
        <a:srgbClr val="009FDF"/>
      </a:accent2>
      <a:accent3>
        <a:srgbClr val="ECC200"/>
      </a:accent3>
      <a:accent4>
        <a:srgbClr val="63666A"/>
      </a:accent4>
      <a:accent5>
        <a:srgbClr val="00A599"/>
      </a:accent5>
      <a:accent6>
        <a:srgbClr val="D57E1C"/>
      </a:accent6>
      <a:hlink>
        <a:srgbClr val="009FDF"/>
      </a:hlink>
      <a:folHlink>
        <a:srgbClr val="6E267B"/>
      </a:folHlink>
    </a:clrScheme>
    <a:fontScheme name="ESB Document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SB Networks_PPT 16-9_Design_2018Update v1.2.potx" id="{36268A04-69D8-4655-BE26-BD7842B57F4E}" vid="{A91BACD3-A9C4-4F23-AE17-253C1F3CB91D}"/>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SharedWithUsers xmlns="756e4562-c4c1-4bcc-9965-1a511e6ad40e">
      <UserInfo>
        <DisplayName>Chheda. Kelin (Contractor - Accenture)</DisplayName>
        <AccountId>8768</AccountId>
        <AccountType/>
      </UserInfo>
      <UserInfo>
        <DisplayName>Duffy. Vicky (Enterprise Services)</DisplayName>
        <AccountId>6061</AccountId>
        <AccountType/>
      </UserInfo>
      <UserInfo>
        <DisplayName>Hassett. Rachel (Consultant - EY)</DisplayName>
        <AccountId>3581</AccountId>
        <AccountType/>
      </UserInfo>
      <UserInfo>
        <DisplayName>Corcoran. Emer (ESB Networks)</DisplayName>
        <AccountId>441</AccountId>
        <AccountType/>
      </UserInfo>
      <UserInfo>
        <DisplayName>Power. Damien (Contractor - EY)</DisplayName>
        <AccountId>44955</AccountId>
        <AccountType/>
      </UserInfo>
    </SharedWithUsers>
    <TaxCatchAll xmlns="ce75c346-2eea-48b4-abb0-68ed044fb146" xsi:nil="true"/>
    <lcf76f155ced4ddcb4097134ff3c332f xmlns="50e15c66-3704-4581-9484-2f84341fb7e1">
      <Terms xmlns="http://schemas.microsoft.com/office/infopath/2007/PartnerControls"/>
    </lcf76f155ced4ddcb4097134ff3c332f>
    <Drops xmlns="50e15c66-3704-4581-9484-2f84341fb7e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0F91070EF50504C83E04AB9194313B8" ma:contentTypeVersion="22" ma:contentTypeDescription="Create a new document." ma:contentTypeScope="" ma:versionID="9f26ab500f98226f0638f01ded6386c1">
  <xsd:schema xmlns:xsd="http://www.w3.org/2001/XMLSchema" xmlns:xs="http://www.w3.org/2001/XMLSchema" xmlns:p="http://schemas.microsoft.com/office/2006/metadata/properties" xmlns:ns2="50e15c66-3704-4581-9484-2f84341fb7e1" xmlns:ns3="756e4562-c4c1-4bcc-9965-1a511e6ad40e" xmlns:ns4="ce75c346-2eea-48b4-abb0-68ed044fb146" targetNamespace="http://schemas.microsoft.com/office/2006/metadata/properties" ma:root="true" ma:fieldsID="0fedf8e1dd11800159ccad3529cc4aaf" ns2:_="" ns3:_="" ns4:_="">
    <xsd:import namespace="50e15c66-3704-4581-9484-2f84341fb7e1"/>
    <xsd:import namespace="756e4562-c4c1-4bcc-9965-1a511e6ad40e"/>
    <xsd:import namespace="ce75c346-2eea-48b4-abb0-68ed044fb1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4:TaxCatchAll" minOccurs="0"/>
                <xsd:element ref="ns2:MediaServiceSearchProperties" minOccurs="0"/>
                <xsd:element ref="ns2:MediaServiceObjectDetectorVersions" minOccurs="0"/>
                <xsd:element ref="ns2:Drop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e15c66-3704-4581-9484-2f84341fb7e1" elementFormDefault="qualified">
    <xsd:import namespace="http://schemas.microsoft.com/office/2006/documentManagement/types"/>
    <xsd:import namespace="http://schemas.microsoft.com/office/infopath/2007/PartnerControls"/>
    <xsd:element name="MediaServiceMetadata" ma:index="7" nillable="true" ma:displayName="MediaServiceMetadata" ma:hidden="true" ma:internalName="MediaServiceMetadata" ma:readOnly="true">
      <xsd:simpleType>
        <xsd:restriction base="dms:Note"/>
      </xsd:simpleType>
    </xsd:element>
    <xsd:element name="MediaServiceFastMetadata" ma:index="8"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3762961-495e-4f26-8edd-cfd6513d30e3"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Drops" ma:index="26" nillable="true" ma:displayName="Drops" ma:description="Drop that document refers to " ma:format="Dropdown" ma:internalName="Drops">
      <xsd:simpleType>
        <xsd:restriction base="dms:Choice">
          <xsd:enumeration value="Drop 8.7A"/>
          <xsd:enumeration value="Drop 8.7B"/>
          <xsd:enumeration value="Drop 9"/>
          <xsd:enumeration value="Information"/>
          <xsd:enumeration value="Time Switch/Relay information/issues"/>
        </xsd:restriction>
      </xsd:simpleType>
    </xsd:element>
  </xsd:schema>
  <xsd:schema xmlns:xsd="http://www.w3.org/2001/XMLSchema" xmlns:xs="http://www.w3.org/2001/XMLSchema" xmlns:dms="http://schemas.microsoft.com/office/2006/documentManagement/types" xmlns:pc="http://schemas.microsoft.com/office/infopath/2007/PartnerControls" targetNamespace="756e4562-c4c1-4bcc-9965-1a511e6ad40e" elementFormDefault="qualified">
    <xsd:import namespace="http://schemas.microsoft.com/office/2006/documentManagement/types"/>
    <xsd:import namespace="http://schemas.microsoft.com/office/infopath/2007/PartnerControls"/>
    <xsd:element name="SharedWithUsers" ma:index="9"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e75c346-2eea-48b4-abb0-68ed044fb146"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a484024b-3738-4b1d-a4a1-753e82675482}" ma:internalName="TaxCatchAll" ma:showField="CatchAllData" ma:web="ce75c346-2eea-48b4-abb0-68ed044fb1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3EB42D-8A3B-40FB-8A1E-D9962CC03C48}">
  <ds:schemaRefs>
    <ds:schemaRef ds:uri="http://schemas.microsoft.com/office/2006/metadata/properties"/>
    <ds:schemaRef ds:uri="http://purl.org/dc/terms/"/>
    <ds:schemaRef ds:uri="http://purl.org/dc/dcmitype/"/>
    <ds:schemaRef ds:uri="http://schemas.microsoft.com/office/2006/documentManagement/types"/>
    <ds:schemaRef ds:uri="http://schemas.microsoft.com/office/infopath/2007/PartnerControls"/>
    <ds:schemaRef ds:uri="http://www.w3.org/XML/1998/namespace"/>
    <ds:schemaRef ds:uri="756e4562-c4c1-4bcc-9965-1a511e6ad40e"/>
    <ds:schemaRef ds:uri="http://purl.org/dc/elements/1.1/"/>
    <ds:schemaRef ds:uri="http://schemas.openxmlformats.org/package/2006/metadata/core-properties"/>
    <ds:schemaRef ds:uri="ce75c346-2eea-48b4-abb0-68ed044fb146"/>
    <ds:schemaRef ds:uri="50e15c66-3704-4581-9484-2f84341fb7e1"/>
  </ds:schemaRefs>
</ds:datastoreItem>
</file>

<file path=customXml/itemProps2.xml><?xml version="1.0" encoding="utf-8"?>
<ds:datastoreItem xmlns:ds="http://schemas.openxmlformats.org/officeDocument/2006/customXml" ds:itemID="{F222F9D3-C9BA-4615-B877-26882F5E072E}">
  <ds:schemaRefs>
    <ds:schemaRef ds:uri="http://schemas.microsoft.com/sharepoint/v3/contenttype/forms"/>
  </ds:schemaRefs>
</ds:datastoreItem>
</file>

<file path=customXml/itemProps3.xml><?xml version="1.0" encoding="utf-8"?>
<ds:datastoreItem xmlns:ds="http://schemas.openxmlformats.org/officeDocument/2006/customXml" ds:itemID="{1F7AAB0B-A732-480A-ABD8-2910BA9456FA}">
  <ds:schemaRefs>
    <ds:schemaRef ds:uri="50e15c66-3704-4581-9484-2f84341fb7e1"/>
    <ds:schemaRef ds:uri="756e4562-c4c1-4bcc-9965-1a511e6ad40e"/>
    <ds:schemaRef ds:uri="ce75c346-2eea-48b4-abb0-68ed044fb1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SB Brand Template</Template>
  <TotalTime>0</TotalTime>
  <Words>467</Words>
  <Application>Microsoft Office PowerPoint</Application>
  <PresentationFormat>Widescreen</PresentationFormat>
  <Paragraphs>132</Paragraphs>
  <Slides>4</Slides>
  <Notes>3</Notes>
  <HiddenSlides>0</HiddenSlides>
  <MMClips>0</MMClips>
  <ScaleCrop>false</ScaleCrop>
  <HeadingPairs>
    <vt:vector size="8" baseType="variant">
      <vt:variant>
        <vt:lpstr>Fonts Used</vt:lpstr>
      </vt:variant>
      <vt:variant>
        <vt:i4>4</vt:i4>
      </vt:variant>
      <vt:variant>
        <vt:lpstr>Theme</vt:lpstr>
      </vt:variant>
      <vt:variant>
        <vt:i4>9</vt:i4>
      </vt:variant>
      <vt:variant>
        <vt:lpstr>Embedded OLE Servers</vt:lpstr>
      </vt:variant>
      <vt:variant>
        <vt:i4>1</vt:i4>
      </vt:variant>
      <vt:variant>
        <vt:lpstr>Slide Titles</vt:lpstr>
      </vt:variant>
      <vt:variant>
        <vt:i4>4</vt:i4>
      </vt:variant>
    </vt:vector>
  </HeadingPairs>
  <TitlesOfParts>
    <vt:vector size="18" baseType="lpstr">
      <vt:lpstr>Arial</vt:lpstr>
      <vt:lpstr>Arial Narrow</vt:lpstr>
      <vt:lpstr>Courier New</vt:lpstr>
      <vt:lpstr>Wingdings</vt:lpstr>
      <vt:lpstr>Breaker Slide</vt:lpstr>
      <vt:lpstr>Blank Header &amp; Content</vt:lpstr>
      <vt:lpstr>12_ESBN</vt:lpstr>
      <vt:lpstr>1_ESBN</vt:lpstr>
      <vt:lpstr>ESBN</vt:lpstr>
      <vt:lpstr>11_ESBN</vt:lpstr>
      <vt:lpstr>13_ESBN</vt:lpstr>
      <vt:lpstr>2_ESB corporate PPT 2003 18-04-2013</vt:lpstr>
      <vt:lpstr>3_Office Theme</vt:lpstr>
      <vt:lpstr>think-cell Slide</vt:lpstr>
      <vt:lpstr>V14.00.00 Schema Release Roadmap v3.0</vt:lpstr>
      <vt:lpstr>V14.00.00 Schema Release Roadmap - Approach </vt:lpstr>
      <vt:lpstr>V14.00.00 Schema Release Roadmap - Approach </vt:lpstr>
      <vt:lpstr>v14.00.00 Schema Release Timelin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6 v13 - Market Eng and Market Assurance - HL POAP</dc:title>
  <dc:creator>OSulliva_Ni</dc:creator>
  <cp:lastModifiedBy>Power. Damien (Contractor - EY)</cp:lastModifiedBy>
  <cp:revision>2</cp:revision>
  <cp:lastPrinted>2018-11-09T13:44:12Z</cp:lastPrinted>
  <dcterms:created xsi:type="dcterms:W3CDTF">2013-05-09T10:52:53Z</dcterms:created>
  <dcterms:modified xsi:type="dcterms:W3CDTF">2024-03-01T16:0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0F91070EF50504C83E04AB9194313B8</vt:lpwstr>
  </property>
  <property fmtid="{D5CDD505-2E9C-101B-9397-08002B2CF9AE}" pid="3" name="Order">
    <vt:r8>7400</vt:r8>
  </property>
  <property fmtid="{D5CDD505-2E9C-101B-9397-08002B2CF9AE}" pid="4" name="xd_ProgID">
    <vt:lpwstr/>
  </property>
  <property fmtid="{D5CDD505-2E9C-101B-9397-08002B2CF9AE}" pid="5" name="TemplateUrl">
    <vt:lpwstr/>
  </property>
  <property fmtid="{D5CDD505-2E9C-101B-9397-08002B2CF9AE}" pid="6" name="MSIP_Label_bf4b7b92-9708-4942-8fd7-f99d10f83297_Enabled">
    <vt:lpwstr>true</vt:lpwstr>
  </property>
  <property fmtid="{D5CDD505-2E9C-101B-9397-08002B2CF9AE}" pid="7" name="MSIP_Label_bf4b7b92-9708-4942-8fd7-f99d10f83297_SetDate">
    <vt:lpwstr>2022-05-30T14:35:29Z</vt:lpwstr>
  </property>
  <property fmtid="{D5CDD505-2E9C-101B-9397-08002B2CF9AE}" pid="8" name="MSIP_Label_bf4b7b92-9708-4942-8fd7-f99d10f83297_Method">
    <vt:lpwstr>Standard</vt:lpwstr>
  </property>
  <property fmtid="{D5CDD505-2E9C-101B-9397-08002B2CF9AE}" pid="9" name="MSIP_Label_bf4b7b92-9708-4942-8fd7-f99d10f83297_Name">
    <vt:lpwstr>General</vt:lpwstr>
  </property>
  <property fmtid="{D5CDD505-2E9C-101B-9397-08002B2CF9AE}" pid="10" name="MSIP_Label_bf4b7b92-9708-4942-8fd7-f99d10f83297_SiteId">
    <vt:lpwstr>fb01cb1d-bba8-4c1a-94ef-defd79c59a09</vt:lpwstr>
  </property>
  <property fmtid="{D5CDD505-2E9C-101B-9397-08002B2CF9AE}" pid="11" name="MSIP_Label_bf4b7b92-9708-4942-8fd7-f99d10f83297_ActionId">
    <vt:lpwstr>5e504eeb-7363-4f83-a9aa-ea9540e23589</vt:lpwstr>
  </property>
  <property fmtid="{D5CDD505-2E9C-101B-9397-08002B2CF9AE}" pid="12" name="MSIP_Label_bf4b7b92-9708-4942-8fd7-f99d10f83297_ContentBits">
    <vt:lpwstr>0</vt:lpwstr>
  </property>
  <property fmtid="{D5CDD505-2E9C-101B-9397-08002B2CF9AE}" pid="13" name="MediaServiceImageTags">
    <vt:lpwstr/>
  </property>
</Properties>
</file>